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diagrams/data1.xml" ContentType="application/vnd.openxmlformats-officedocument.drawingml.diagramData+xml"/>
  <Override PartName="/ppt/presentation.xml" ContentType="application/vnd.openxmlformats-officedocument.presentationml.presentation.main+xml"/>
  <Override PartName="/ppt/slides/slide32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31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22.xml" ContentType="application/vnd.openxmlformats-officedocument.presentationml.slide+xml"/>
  <Override PartName="/ppt/slides/slide21.xml" ContentType="application/vnd.openxmlformats-officedocument.presentationml.slide+xml"/>
  <Override PartName="/ppt/slides/slide24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23.xml" ContentType="application/vnd.openxmlformats-officedocument.presentationml.slide+xml"/>
  <Override PartName="/ppt/slides/slide38.xml" ContentType="application/vnd.openxmlformats-officedocument.presentationml.slide+xml"/>
  <Override PartName="/ppt/slides/slide37.xml" ContentType="application/vnd.openxmlformats-officedocument.presentationml.slide+xml"/>
  <Override PartName="/ppt/slides/slide36.xml" ContentType="application/vnd.openxmlformats-officedocument.presentationml.slide+xml"/>
  <Override PartName="/ppt/slides/slide35.xml" ContentType="application/vnd.openxmlformats-officedocument.presentationml.slide+xml"/>
  <Override PartName="/ppt/slides/slide34.xml" ContentType="application/vnd.openxmlformats-officedocument.presentationml.slide+xml"/>
  <Override PartName="/ppt/slides/slide33.xml" ContentType="application/vnd.openxmlformats-officedocument.presentationml.slide+xml"/>
  <Override PartName="/ppt/slides/slide43.xml" ContentType="application/vnd.openxmlformats-officedocument.presentationml.slide+xml"/>
  <Override PartName="/ppt/slides/slide42.xml" ContentType="application/vnd.openxmlformats-officedocument.presentationml.slide+xml"/>
  <Override PartName="/ppt/slides/slide45.xml" ContentType="application/vnd.openxmlformats-officedocument.presentationml.slide+xml"/>
  <Override PartName="/ppt/slides/slide25.xml" ContentType="application/vnd.openxmlformats-officedocument.presentationml.slide+xml"/>
  <Override PartName="/ppt/slides/slide44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6.xml" ContentType="application/vnd.openxmlformats-officedocument.presentationml.slide+xml"/>
  <Override PartName="/ppt/slides/slide30.xml" ContentType="application/vnd.openxmlformats-officedocument.presentationml.slide+xml"/>
  <Override PartName="/ppt/slides/slide46.xml" ContentType="application/vnd.openxmlformats-officedocument.presentationml.slide+xml"/>
  <Override PartName="/ppt/slides/slide29.xml" ContentType="application/vnd.openxmlformats-officedocument.presentationml.slide+xml"/>
  <Override PartName="/ppt/notesSlides/notesSlide3.xml" ContentType="application/vnd.openxmlformats-officedocument.presentationml.notesSlide+xml"/>
  <Override PartName="/ppt/slideLayouts/slideLayout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13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theme/theme1.xml" ContentType="application/vnd.openxmlformats-officedocument.them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diagrams/quickStyle1.xml" ContentType="application/vnd.openxmlformats-officedocument.drawingml.diagramStyle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diagrams/layout1.xml" ContentType="application/vnd.openxmlformats-officedocument.drawingml.diagramLayout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docProps/core.xml" ContentType="application/vnd.openxmlformats-package.core-properties+xml"/>
  <Override PartName="/ppt/tags/tag14.xml" ContentType="application/vnd.openxmlformats-officedocument.presentationml.tags+xml"/>
  <Override PartName="/ppt/tags/tag12.xml" ContentType="application/vnd.openxmlformats-officedocument.presentationml.tags+xml"/>
  <Override PartName="/ppt/tags/tag15.xml" ContentType="application/vnd.openxmlformats-officedocument.presentationml.tags+xml"/>
  <Override PartName="/ppt/tags/tag13.xml" ContentType="application/vnd.openxmlformats-officedocument.presentationml.tags+xml"/>
  <Override PartName="/ppt/tags/tag17.xml" ContentType="application/vnd.openxmlformats-officedocument.presentationml.tags+xml"/>
  <Override PartName="/ppt/tags/tag11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16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8"/>
  </p:notesMasterIdLst>
  <p:sldIdLst>
    <p:sldId id="256" r:id="rId2"/>
    <p:sldId id="385" r:id="rId3"/>
    <p:sldId id="417" r:id="rId4"/>
    <p:sldId id="257" r:id="rId5"/>
    <p:sldId id="419" r:id="rId6"/>
    <p:sldId id="474" r:id="rId7"/>
    <p:sldId id="603" r:id="rId8"/>
    <p:sldId id="472" r:id="rId9"/>
    <p:sldId id="604" r:id="rId10"/>
    <p:sldId id="605" r:id="rId11"/>
    <p:sldId id="611" r:id="rId12"/>
    <p:sldId id="606" r:id="rId13"/>
    <p:sldId id="607" r:id="rId14"/>
    <p:sldId id="612" r:id="rId15"/>
    <p:sldId id="609" r:id="rId16"/>
    <p:sldId id="610" r:id="rId17"/>
    <p:sldId id="637" r:id="rId18"/>
    <p:sldId id="614" r:id="rId19"/>
    <p:sldId id="613" r:id="rId20"/>
    <p:sldId id="615" r:id="rId21"/>
    <p:sldId id="617" r:id="rId22"/>
    <p:sldId id="616" r:id="rId23"/>
    <p:sldId id="618" r:id="rId24"/>
    <p:sldId id="619" r:id="rId25"/>
    <p:sldId id="636" r:id="rId26"/>
    <p:sldId id="638" r:id="rId27"/>
    <p:sldId id="575" r:id="rId28"/>
    <p:sldId id="620" r:id="rId29"/>
    <p:sldId id="608" r:id="rId30"/>
    <p:sldId id="476" r:id="rId31"/>
    <p:sldId id="621" r:id="rId32"/>
    <p:sldId id="622" r:id="rId33"/>
    <p:sldId id="623" r:id="rId34"/>
    <p:sldId id="624" r:id="rId35"/>
    <p:sldId id="625" r:id="rId36"/>
    <p:sldId id="626" r:id="rId37"/>
    <p:sldId id="627" r:id="rId38"/>
    <p:sldId id="628" r:id="rId39"/>
    <p:sldId id="629" r:id="rId40"/>
    <p:sldId id="630" r:id="rId41"/>
    <p:sldId id="631" r:id="rId42"/>
    <p:sldId id="632" r:id="rId43"/>
    <p:sldId id="633" r:id="rId44"/>
    <p:sldId id="634" r:id="rId45"/>
    <p:sldId id="635" r:id="rId46"/>
    <p:sldId id="410" r:id="rId47"/>
  </p:sldIdLst>
  <p:sldSz cx="9144000" cy="5143500" type="screen16x9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enrique Morais" initials="H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AA6"/>
    <a:srgbClr val="07B507"/>
    <a:srgbClr val="FFCC00"/>
    <a:srgbClr val="17E9E9"/>
    <a:srgbClr val="FF0000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C2FFA5D-87B4-456A-9821-1D502468CF0F}" styleName="Estilo com Tema 1 - Ênfas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Estilo Claro 3 - Ênfas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Estilo Claro 3 - Ênfase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47" autoAdjust="0"/>
    <p:restoredTop sz="94316" autoAdjust="0"/>
  </p:normalViewPr>
  <p:slideViewPr>
    <p:cSldViewPr>
      <p:cViewPr varScale="1">
        <p:scale>
          <a:sx n="87" d="100"/>
          <a:sy n="87" d="100"/>
        </p:scale>
        <p:origin x="-912" y="-9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presProps" Target="presProps.xml"/><Relationship Id="rId55" Type="http://schemas.openxmlformats.org/officeDocument/2006/relationships/customXml" Target="../customXml/item2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56" Type="http://schemas.openxmlformats.org/officeDocument/2006/relationships/customXml" Target="../customXml/item3.xml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84CE02D-8791-4BC7-8DCC-E3EC9E667DF5}" type="doc">
      <dgm:prSet loTypeId="urn:microsoft.com/office/officeart/2005/8/layout/pyramid3" loCatId="pyramid" qsTypeId="urn:microsoft.com/office/officeart/2005/8/quickstyle/3d5" qsCatId="3D" csTypeId="urn:microsoft.com/office/officeart/2005/8/colors/accent1_3" csCatId="accent1" phldr="1"/>
      <dgm:spPr/>
    </dgm:pt>
    <dgm:pt modelId="{260D6DC2-01B7-49A6-983F-B7410007D92E}">
      <dgm:prSet phldrT="[Text]" custT="1"/>
      <dgm:spPr/>
      <dgm:t>
        <a:bodyPr/>
        <a:lstStyle/>
        <a:p>
          <a:r>
            <a:rPr lang="en-US" sz="2800" b="1" dirty="0" smtClean="0">
              <a:solidFill>
                <a:schemeClr val="bg1"/>
              </a:solidFill>
            </a:rPr>
            <a:t>Transactional Data</a:t>
          </a:r>
          <a:endParaRPr lang="en-US" sz="2800" b="1" dirty="0">
            <a:solidFill>
              <a:schemeClr val="bg1"/>
            </a:solidFill>
          </a:endParaRPr>
        </a:p>
      </dgm:t>
    </dgm:pt>
    <dgm:pt modelId="{31E9A61C-FECE-4CF1-AA7B-F2F0B00332EA}" type="parTrans" cxnId="{64D4CA76-AA21-4392-982A-FA6C292BCF3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99B909A-B37A-45E3-94D8-5B12DAB5AA6C}" type="sibTrans" cxnId="{64D4CA76-AA21-4392-982A-FA6C292BCF3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B6D9781-2BE7-44A9-9D3C-268B0CC9486C}">
      <dgm:prSet phldrT="[Text]" custT="1"/>
      <dgm:spPr/>
      <dgm:t>
        <a:bodyPr/>
        <a:lstStyle/>
        <a:p>
          <a:r>
            <a:rPr lang="en-US" sz="2000" b="1" dirty="0" smtClean="0">
              <a:solidFill>
                <a:schemeClr val="bg1"/>
              </a:solidFill>
            </a:rPr>
            <a:t>Operational Data &amp; Hierarchies</a:t>
          </a:r>
        </a:p>
      </dgm:t>
    </dgm:pt>
    <dgm:pt modelId="{670A6DA7-1127-4990-BF47-558D1472C66B}" type="parTrans" cxnId="{F8697B09-3BDE-44D7-BE75-3AD86D70AD7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522D614-010D-4C3D-8717-4BA56D2E9B01}" type="sibTrans" cxnId="{F8697B09-3BDE-44D7-BE75-3AD86D70AD7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936050F-DE14-437A-960A-C24FBD5EDF25}">
      <dgm:prSet phldrT="[Text]" custT="1"/>
      <dgm:spPr/>
      <dgm:t>
        <a:bodyPr/>
        <a:lstStyle/>
        <a:p>
          <a:r>
            <a:rPr lang="en-US" sz="18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aster Data</a:t>
          </a:r>
          <a:endParaRPr lang="en-US" sz="1800" b="1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4ED7BB4-5C5F-4E5A-8B86-05623E01138D}" type="parTrans" cxnId="{7D66852C-A389-4774-978E-FA41C2F1412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BF6D1AC-4121-4C1E-9E12-014EE88BFA4C}" type="sibTrans" cxnId="{7D66852C-A389-4774-978E-FA41C2F1412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56EDF22-19B3-457B-9A63-084440F72990}">
      <dgm:prSet phldrT="[Text]" custT="1"/>
      <dgm:spPr/>
      <dgm:t>
        <a:bodyPr/>
        <a:lstStyle/>
        <a:p>
          <a:r>
            <a:rPr lang="en-US" sz="1600" b="1" dirty="0" smtClean="0">
              <a:solidFill>
                <a:schemeClr val="tx1"/>
              </a:solidFill>
            </a:rPr>
            <a:t>Reference </a:t>
          </a:r>
        </a:p>
        <a:p>
          <a:r>
            <a:rPr lang="en-US" sz="1600" b="1" dirty="0" smtClean="0">
              <a:solidFill>
                <a:schemeClr val="tx1"/>
              </a:solidFill>
            </a:rPr>
            <a:t>Data</a:t>
          </a:r>
          <a:endParaRPr lang="en-US" sz="1600" b="1" dirty="0">
            <a:solidFill>
              <a:schemeClr val="tx1"/>
            </a:solidFill>
          </a:endParaRPr>
        </a:p>
      </dgm:t>
    </dgm:pt>
    <dgm:pt modelId="{D2EC2874-F591-4E04-817F-53518B75A1B3}" type="parTrans" cxnId="{D16934E2-C6AB-430D-BFEA-125D15ECBA8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282D1D8-AC97-4D17-BB12-2F079A4FA823}" type="sibTrans" cxnId="{D16934E2-C6AB-430D-BFEA-125D15ECBA8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B592571-92EE-4C79-9958-23E405754F5C}" type="pres">
      <dgm:prSet presAssocID="{084CE02D-8791-4BC7-8DCC-E3EC9E667DF5}" presName="Name0" presStyleCnt="0">
        <dgm:presLayoutVars>
          <dgm:dir/>
          <dgm:animLvl val="lvl"/>
          <dgm:resizeHandles val="exact"/>
        </dgm:presLayoutVars>
      </dgm:prSet>
      <dgm:spPr/>
    </dgm:pt>
    <dgm:pt modelId="{BFBDF6D6-C8F5-42A0-922C-80B660032096}" type="pres">
      <dgm:prSet presAssocID="{260D6DC2-01B7-49A6-983F-B7410007D92E}" presName="Name8" presStyleCnt="0"/>
      <dgm:spPr/>
    </dgm:pt>
    <dgm:pt modelId="{50FC33A4-A63F-4CA4-BBAA-2B2364D93AC4}" type="pres">
      <dgm:prSet presAssocID="{260D6DC2-01B7-49A6-983F-B7410007D92E}" presName="level" presStyleLbl="node1" presStyleIdx="0" presStyleCnt="4" custLinFactNeighborX="627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25A389-61CE-4969-9F43-B300B00DE838}" type="pres">
      <dgm:prSet presAssocID="{260D6DC2-01B7-49A6-983F-B7410007D92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D951881-459A-4051-97E9-8663A48CD3D2}" type="pres">
      <dgm:prSet presAssocID="{8B6D9781-2BE7-44A9-9D3C-268B0CC9486C}" presName="Name8" presStyleCnt="0"/>
      <dgm:spPr/>
    </dgm:pt>
    <dgm:pt modelId="{FD35CE55-21EE-4BAE-B252-F832DD1652FF}" type="pres">
      <dgm:prSet presAssocID="{8B6D9781-2BE7-44A9-9D3C-268B0CC9486C}" presName="level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08C4738-070B-4343-9A14-F5D1C3EEA6D1}" type="pres">
      <dgm:prSet presAssocID="{8B6D9781-2BE7-44A9-9D3C-268B0CC9486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2DB58F7-31A1-4433-BAAB-A7C455BD7E8E}" type="pres">
      <dgm:prSet presAssocID="{C936050F-DE14-437A-960A-C24FBD5EDF25}" presName="Name8" presStyleCnt="0"/>
      <dgm:spPr/>
    </dgm:pt>
    <dgm:pt modelId="{04EB9A96-A5AD-40EA-8DA6-7349221F87FD}" type="pres">
      <dgm:prSet presAssocID="{C936050F-DE14-437A-960A-C24FBD5EDF25}" presName="level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4B0C798-96C5-4B84-B04C-D3814C9186D4}" type="pres">
      <dgm:prSet presAssocID="{C936050F-DE14-437A-960A-C24FBD5EDF2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729BF98-CB92-4377-8F04-46FBC9D44220}" type="pres">
      <dgm:prSet presAssocID="{656EDF22-19B3-457B-9A63-084440F72990}" presName="Name8" presStyleCnt="0"/>
      <dgm:spPr/>
    </dgm:pt>
    <dgm:pt modelId="{D222BEE6-08A3-48F7-9450-2D4680A277EA}" type="pres">
      <dgm:prSet presAssocID="{656EDF22-19B3-457B-9A63-084440F72990}" presName="level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FA3C97-C0B8-4884-BD97-E7E27525963F}" type="pres">
      <dgm:prSet presAssocID="{656EDF22-19B3-457B-9A63-084440F7299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B5E081B-CA5A-417A-9445-E1186853CE46}" type="presOf" srcId="{C936050F-DE14-437A-960A-C24FBD5EDF25}" destId="{D4B0C798-96C5-4B84-B04C-D3814C9186D4}" srcOrd="1" destOrd="0" presId="urn:microsoft.com/office/officeart/2005/8/layout/pyramid3"/>
    <dgm:cxn modelId="{7D66852C-A389-4774-978E-FA41C2F14120}" srcId="{084CE02D-8791-4BC7-8DCC-E3EC9E667DF5}" destId="{C936050F-DE14-437A-960A-C24FBD5EDF25}" srcOrd="2" destOrd="0" parTransId="{64ED7BB4-5C5F-4E5A-8B86-05623E01138D}" sibTransId="{ABF6D1AC-4121-4C1E-9E12-014EE88BFA4C}"/>
    <dgm:cxn modelId="{F8697B09-3BDE-44D7-BE75-3AD86D70AD7F}" srcId="{084CE02D-8791-4BC7-8DCC-E3EC9E667DF5}" destId="{8B6D9781-2BE7-44A9-9D3C-268B0CC9486C}" srcOrd="1" destOrd="0" parTransId="{670A6DA7-1127-4990-BF47-558D1472C66B}" sibTransId="{3522D614-010D-4C3D-8717-4BA56D2E9B01}"/>
    <dgm:cxn modelId="{DD40D207-818B-461F-BD9F-EB462122C5DB}" type="presOf" srcId="{C936050F-DE14-437A-960A-C24FBD5EDF25}" destId="{04EB9A96-A5AD-40EA-8DA6-7349221F87FD}" srcOrd="0" destOrd="0" presId="urn:microsoft.com/office/officeart/2005/8/layout/pyramid3"/>
    <dgm:cxn modelId="{FDC1BF8D-F1FE-4423-A985-42D7DD229A44}" type="presOf" srcId="{260D6DC2-01B7-49A6-983F-B7410007D92E}" destId="{50FC33A4-A63F-4CA4-BBAA-2B2364D93AC4}" srcOrd="0" destOrd="0" presId="urn:microsoft.com/office/officeart/2005/8/layout/pyramid3"/>
    <dgm:cxn modelId="{33088C1E-685C-47CA-ABC9-AA8E7469DD1F}" type="presOf" srcId="{656EDF22-19B3-457B-9A63-084440F72990}" destId="{69FA3C97-C0B8-4884-BD97-E7E27525963F}" srcOrd="1" destOrd="0" presId="urn:microsoft.com/office/officeart/2005/8/layout/pyramid3"/>
    <dgm:cxn modelId="{64D4CA76-AA21-4392-982A-FA6C292BCF3B}" srcId="{084CE02D-8791-4BC7-8DCC-E3EC9E667DF5}" destId="{260D6DC2-01B7-49A6-983F-B7410007D92E}" srcOrd="0" destOrd="0" parTransId="{31E9A61C-FECE-4CF1-AA7B-F2F0B00332EA}" sibTransId="{C99B909A-B37A-45E3-94D8-5B12DAB5AA6C}"/>
    <dgm:cxn modelId="{A665C55E-5988-4F92-9328-F9BB974ECDCB}" type="presOf" srcId="{8B6D9781-2BE7-44A9-9D3C-268B0CC9486C}" destId="{508C4738-070B-4343-9A14-F5D1C3EEA6D1}" srcOrd="1" destOrd="0" presId="urn:microsoft.com/office/officeart/2005/8/layout/pyramid3"/>
    <dgm:cxn modelId="{2ABE5A2A-EE63-4F75-BCED-F593316CE886}" type="presOf" srcId="{084CE02D-8791-4BC7-8DCC-E3EC9E667DF5}" destId="{EB592571-92EE-4C79-9958-23E405754F5C}" srcOrd="0" destOrd="0" presId="urn:microsoft.com/office/officeart/2005/8/layout/pyramid3"/>
    <dgm:cxn modelId="{2C2A661F-2301-4AA3-8913-9BECE2E8BAB0}" type="presOf" srcId="{260D6DC2-01B7-49A6-983F-B7410007D92E}" destId="{B325A389-61CE-4969-9F43-B300B00DE838}" srcOrd="1" destOrd="0" presId="urn:microsoft.com/office/officeart/2005/8/layout/pyramid3"/>
    <dgm:cxn modelId="{3F10C0D1-49DE-415E-BA81-A0F5C046FC39}" type="presOf" srcId="{8B6D9781-2BE7-44A9-9D3C-268B0CC9486C}" destId="{FD35CE55-21EE-4BAE-B252-F832DD1652FF}" srcOrd="0" destOrd="0" presId="urn:microsoft.com/office/officeart/2005/8/layout/pyramid3"/>
    <dgm:cxn modelId="{D16934E2-C6AB-430D-BFEA-125D15ECBA82}" srcId="{084CE02D-8791-4BC7-8DCC-E3EC9E667DF5}" destId="{656EDF22-19B3-457B-9A63-084440F72990}" srcOrd="3" destOrd="0" parTransId="{D2EC2874-F591-4E04-817F-53518B75A1B3}" sibTransId="{E282D1D8-AC97-4D17-BB12-2F079A4FA823}"/>
    <dgm:cxn modelId="{65A940AA-258F-43F9-AC04-7875ACC38BF0}" type="presOf" srcId="{656EDF22-19B3-457B-9A63-084440F72990}" destId="{D222BEE6-08A3-48F7-9450-2D4680A277EA}" srcOrd="0" destOrd="0" presId="urn:microsoft.com/office/officeart/2005/8/layout/pyramid3"/>
    <dgm:cxn modelId="{96FE157F-B90B-400F-947C-89E6594DDB26}" type="presParOf" srcId="{EB592571-92EE-4C79-9958-23E405754F5C}" destId="{BFBDF6D6-C8F5-42A0-922C-80B660032096}" srcOrd="0" destOrd="0" presId="urn:microsoft.com/office/officeart/2005/8/layout/pyramid3"/>
    <dgm:cxn modelId="{FE1D8277-8A20-49B5-9E49-E0AFB10B494B}" type="presParOf" srcId="{BFBDF6D6-C8F5-42A0-922C-80B660032096}" destId="{50FC33A4-A63F-4CA4-BBAA-2B2364D93AC4}" srcOrd="0" destOrd="0" presId="urn:microsoft.com/office/officeart/2005/8/layout/pyramid3"/>
    <dgm:cxn modelId="{9F81C1FF-E021-4B50-A888-439107BBC1EE}" type="presParOf" srcId="{BFBDF6D6-C8F5-42A0-922C-80B660032096}" destId="{B325A389-61CE-4969-9F43-B300B00DE838}" srcOrd="1" destOrd="0" presId="urn:microsoft.com/office/officeart/2005/8/layout/pyramid3"/>
    <dgm:cxn modelId="{C6E39F5D-D69E-4F71-B653-E011F3EB9E85}" type="presParOf" srcId="{EB592571-92EE-4C79-9958-23E405754F5C}" destId="{FD951881-459A-4051-97E9-8663A48CD3D2}" srcOrd="1" destOrd="0" presId="urn:microsoft.com/office/officeart/2005/8/layout/pyramid3"/>
    <dgm:cxn modelId="{699D832D-A785-4FE2-984C-793C58A03161}" type="presParOf" srcId="{FD951881-459A-4051-97E9-8663A48CD3D2}" destId="{FD35CE55-21EE-4BAE-B252-F832DD1652FF}" srcOrd="0" destOrd="0" presId="urn:microsoft.com/office/officeart/2005/8/layout/pyramid3"/>
    <dgm:cxn modelId="{3DA96C4A-48F6-4BFC-80CB-8C11F1ECCE46}" type="presParOf" srcId="{FD951881-459A-4051-97E9-8663A48CD3D2}" destId="{508C4738-070B-4343-9A14-F5D1C3EEA6D1}" srcOrd="1" destOrd="0" presId="urn:microsoft.com/office/officeart/2005/8/layout/pyramid3"/>
    <dgm:cxn modelId="{621594DF-4B62-41BC-B0CC-9ED9EC7CA4D2}" type="presParOf" srcId="{EB592571-92EE-4C79-9958-23E405754F5C}" destId="{42DB58F7-31A1-4433-BAAB-A7C455BD7E8E}" srcOrd="2" destOrd="0" presId="urn:microsoft.com/office/officeart/2005/8/layout/pyramid3"/>
    <dgm:cxn modelId="{DEAA1AEE-F703-458D-94F4-3A16F0E85524}" type="presParOf" srcId="{42DB58F7-31A1-4433-BAAB-A7C455BD7E8E}" destId="{04EB9A96-A5AD-40EA-8DA6-7349221F87FD}" srcOrd="0" destOrd="0" presId="urn:microsoft.com/office/officeart/2005/8/layout/pyramid3"/>
    <dgm:cxn modelId="{AD8B6410-0E4C-45DE-91F8-5013734303DE}" type="presParOf" srcId="{42DB58F7-31A1-4433-BAAB-A7C455BD7E8E}" destId="{D4B0C798-96C5-4B84-B04C-D3814C9186D4}" srcOrd="1" destOrd="0" presId="urn:microsoft.com/office/officeart/2005/8/layout/pyramid3"/>
    <dgm:cxn modelId="{8FA1694B-4593-4EDB-ADE7-337EDF32F261}" type="presParOf" srcId="{EB592571-92EE-4C79-9958-23E405754F5C}" destId="{C729BF98-CB92-4377-8F04-46FBC9D44220}" srcOrd="3" destOrd="0" presId="urn:microsoft.com/office/officeart/2005/8/layout/pyramid3"/>
    <dgm:cxn modelId="{19164C3E-32DF-4825-8694-B8F911D5FBF5}" type="presParOf" srcId="{C729BF98-CB92-4377-8F04-46FBC9D44220}" destId="{D222BEE6-08A3-48F7-9450-2D4680A277EA}" srcOrd="0" destOrd="0" presId="urn:microsoft.com/office/officeart/2005/8/layout/pyramid3"/>
    <dgm:cxn modelId="{EC10808F-8F3F-47B6-AD40-302019435A75}" type="presParOf" srcId="{C729BF98-CB92-4377-8F04-46FBC9D44220}" destId="{69FA3C97-C0B8-4884-BD97-E7E27525963F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FC33A4-A63F-4CA4-BBAA-2B2364D93AC4}">
      <dsp:nvSpPr>
        <dsp:cNvPr id="0" name=""/>
        <dsp:cNvSpPr/>
      </dsp:nvSpPr>
      <dsp:spPr>
        <a:xfrm rot="10800000">
          <a:off x="0" y="0"/>
          <a:ext cx="4139951" cy="859450"/>
        </a:xfrm>
        <a:prstGeom prst="trapezoid">
          <a:avLst>
            <a:gd name="adj" fmla="val 60212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 smtClean="0">
              <a:solidFill>
                <a:schemeClr val="bg1"/>
              </a:solidFill>
            </a:rPr>
            <a:t>Transactional Data</a:t>
          </a:r>
          <a:endParaRPr lang="en-US" sz="2800" b="1" kern="1200" dirty="0">
            <a:solidFill>
              <a:schemeClr val="bg1"/>
            </a:solidFill>
          </a:endParaRPr>
        </a:p>
      </dsp:txBody>
      <dsp:txXfrm rot="-10800000">
        <a:off x="724491" y="0"/>
        <a:ext cx="2690968" cy="859450"/>
      </dsp:txXfrm>
    </dsp:sp>
    <dsp:sp modelId="{FD35CE55-21EE-4BAE-B252-F832DD1652FF}">
      <dsp:nvSpPr>
        <dsp:cNvPr id="0" name=""/>
        <dsp:cNvSpPr/>
      </dsp:nvSpPr>
      <dsp:spPr>
        <a:xfrm rot="10800000">
          <a:off x="517494" y="859450"/>
          <a:ext cx="3104964" cy="859450"/>
        </a:xfrm>
        <a:prstGeom prst="trapezoid">
          <a:avLst>
            <a:gd name="adj" fmla="val 60212"/>
          </a:avLst>
        </a:prstGeom>
        <a:solidFill>
          <a:schemeClr val="accent1">
            <a:shade val="80000"/>
            <a:hueOff val="102082"/>
            <a:satOff val="-1464"/>
            <a:lumOff val="8538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chemeClr val="bg1"/>
              </a:solidFill>
            </a:rPr>
            <a:t>Operational Data &amp; Hierarchies</a:t>
          </a:r>
        </a:p>
      </dsp:txBody>
      <dsp:txXfrm rot="-10800000">
        <a:off x="1060862" y="859450"/>
        <a:ext cx="2018226" cy="859450"/>
      </dsp:txXfrm>
    </dsp:sp>
    <dsp:sp modelId="{04EB9A96-A5AD-40EA-8DA6-7349221F87FD}">
      <dsp:nvSpPr>
        <dsp:cNvPr id="0" name=""/>
        <dsp:cNvSpPr/>
      </dsp:nvSpPr>
      <dsp:spPr>
        <a:xfrm rot="10800000">
          <a:off x="1034988" y="1718901"/>
          <a:ext cx="2069975" cy="859450"/>
        </a:xfrm>
        <a:prstGeom prst="trapezoid">
          <a:avLst>
            <a:gd name="adj" fmla="val 60212"/>
          </a:avLst>
        </a:prstGeom>
        <a:solidFill>
          <a:schemeClr val="accent1">
            <a:shade val="80000"/>
            <a:hueOff val="204164"/>
            <a:satOff val="-2928"/>
            <a:lumOff val="17077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aster Data</a:t>
          </a:r>
          <a:endParaRPr lang="en-US" sz="1800" b="1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 rot="-10800000">
        <a:off x="1397233" y="1718901"/>
        <a:ext cx="1345484" cy="859450"/>
      </dsp:txXfrm>
    </dsp:sp>
    <dsp:sp modelId="{D222BEE6-08A3-48F7-9450-2D4680A277EA}">
      <dsp:nvSpPr>
        <dsp:cNvPr id="0" name=""/>
        <dsp:cNvSpPr/>
      </dsp:nvSpPr>
      <dsp:spPr>
        <a:xfrm rot="10800000">
          <a:off x="1552482" y="2578351"/>
          <a:ext cx="1034987" cy="859450"/>
        </a:xfrm>
        <a:prstGeom prst="trapezoid">
          <a:avLst>
            <a:gd name="adj" fmla="val 60212"/>
          </a:avLst>
        </a:prstGeom>
        <a:solidFill>
          <a:schemeClr val="accent1">
            <a:shade val="80000"/>
            <a:hueOff val="306246"/>
            <a:satOff val="-4392"/>
            <a:lumOff val="25615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Reference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Data</a:t>
          </a:r>
          <a:endParaRPr lang="en-US" sz="1600" b="1" kern="1200" dirty="0">
            <a:solidFill>
              <a:schemeClr val="tx1"/>
            </a:solidFill>
          </a:endParaRPr>
        </a:p>
      </dsp:txBody>
      <dsp:txXfrm rot="-10800000">
        <a:off x="1552482" y="2578351"/>
        <a:ext cx="1034987" cy="8594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4532F2-82FD-4DFB-81AA-D869E890BE68}" type="datetimeFigureOut">
              <a:rPr lang="pt-BR" smtClean="0"/>
              <a:pPr/>
              <a:t>11/03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9D1E6C-B107-4698-BB95-CCB932440896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90516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19010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Timing</a:t>
            </a:r>
          </a:p>
          <a:p>
            <a:pPr marL="171450" indent="-171450">
              <a:buFontTx/>
              <a:buChar char="-"/>
            </a:pPr>
            <a:r>
              <a:rPr lang="pt-BR" dirty="0" smtClean="0"/>
              <a:t>Introdução a SOA (1h)</a:t>
            </a:r>
          </a:p>
          <a:p>
            <a:pPr marL="171450" indent="-171450">
              <a:buFontTx/>
              <a:buChar char="-"/>
            </a:pPr>
            <a:r>
              <a:rPr lang="pt-BR" dirty="0" smtClean="0"/>
              <a:t>Soluções</a:t>
            </a:r>
            <a:r>
              <a:rPr lang="pt-BR" baseline="0" dirty="0" smtClean="0"/>
              <a:t> com SOA (1h)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07564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Versão 1.1 - </a:t>
            </a:r>
            <a:r>
              <a:rPr lang="pt-BR" dirty="0" err="1" smtClean="0"/>
              <a:t>Highlight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17012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3420000" y="1634399"/>
            <a:ext cx="5112000" cy="1263600"/>
          </a:xfrm>
        </p:spPr>
        <p:txBody>
          <a:bodyPr>
            <a:normAutofit/>
          </a:bodyPr>
          <a:lstStyle>
            <a:lvl1pPr algn="l">
              <a:defRPr sz="3800" b="1">
                <a:solidFill>
                  <a:schemeClr val="bg1"/>
                </a:solidFill>
              </a:defRPr>
            </a:lvl1pPr>
          </a:lstStyle>
          <a:p>
            <a:r>
              <a:rPr lang="en-US" sz="3800" b="1" dirty="0" err="1" smtClean="0">
                <a:solidFill>
                  <a:schemeClr val="bg1"/>
                </a:solidFill>
                <a:latin typeface="Arial"/>
                <a:cs typeface="Arial"/>
              </a:rPr>
              <a:t>Título</a:t>
            </a:r>
            <a:r>
              <a:rPr lang="en-US" sz="3800" b="1" dirty="0" smtClean="0">
                <a:solidFill>
                  <a:schemeClr val="bg1"/>
                </a:solidFill>
                <a:latin typeface="Arial"/>
                <a:cs typeface="Arial"/>
              </a:rPr>
              <a:t> com </a:t>
            </a:r>
            <a:r>
              <a:rPr lang="en-US" sz="3800" b="1" dirty="0" err="1" smtClean="0">
                <a:solidFill>
                  <a:schemeClr val="bg1"/>
                </a:solidFill>
                <a:latin typeface="Arial"/>
                <a:cs typeface="Arial"/>
              </a:rPr>
              <a:t>letra</a:t>
            </a:r>
            <a:r>
              <a:rPr lang="en-US" sz="3800" b="1" dirty="0" smtClean="0">
                <a:solidFill>
                  <a:schemeClr val="bg1"/>
                </a:solidFill>
                <a:latin typeface="Arial"/>
                <a:cs typeface="Arial"/>
              </a:rPr>
              <a:t> Arial Bold </a:t>
            </a:r>
            <a:r>
              <a:rPr lang="en-US" sz="3800" b="1" dirty="0" err="1" smtClean="0">
                <a:solidFill>
                  <a:schemeClr val="bg1"/>
                </a:solidFill>
                <a:latin typeface="Arial"/>
                <a:cs typeface="Arial"/>
              </a:rPr>
              <a:t>tamanho</a:t>
            </a:r>
            <a:r>
              <a:rPr lang="en-US" sz="3800" b="1" dirty="0" smtClean="0">
                <a:solidFill>
                  <a:schemeClr val="bg1"/>
                </a:solidFill>
                <a:latin typeface="Arial"/>
                <a:cs typeface="Arial"/>
              </a:rPr>
              <a:t> 38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448800" y="2898000"/>
            <a:ext cx="4924800" cy="323165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15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0" lvl="0" defTabSz="457200"/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Referência</a:t>
            </a:r>
            <a:r>
              <a:rPr lang="en-US" sz="1500" dirty="0" smtClean="0">
                <a:solidFill>
                  <a:schemeClr val="bg1"/>
                </a:solidFill>
                <a:latin typeface="Arial"/>
                <a:cs typeface="Arial"/>
              </a:rPr>
              <a:t> (</a:t>
            </a:r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Dpto</a:t>
            </a:r>
            <a:r>
              <a:rPr lang="en-US" sz="1500" dirty="0" smtClean="0">
                <a:solidFill>
                  <a:schemeClr val="bg1"/>
                </a:solidFill>
                <a:latin typeface="Arial"/>
                <a:cs typeface="Arial"/>
              </a:rPr>
              <a:t>, </a:t>
            </a:r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cidade</a:t>
            </a:r>
            <a:r>
              <a:rPr lang="en-US" sz="1500" dirty="0" smtClean="0">
                <a:solidFill>
                  <a:schemeClr val="bg1"/>
                </a:solidFill>
                <a:latin typeface="Arial"/>
                <a:cs typeface="Arial"/>
              </a:rPr>
              <a:t>, etc.) | </a:t>
            </a:r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An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527715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/>
          <p:nvPr userDrawn="1"/>
        </p:nvSpPr>
        <p:spPr>
          <a:xfrm>
            <a:off x="0" y="1407600"/>
            <a:ext cx="9144000" cy="3096344"/>
          </a:xfrm>
          <a:prstGeom prst="rect">
            <a:avLst/>
          </a:prstGeom>
          <a:solidFill>
            <a:schemeClr val="bg1">
              <a:lumMod val="85000"/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spaço Reservado para Gráfico 4"/>
          <p:cNvSpPr>
            <a:spLocks noGrp="1"/>
          </p:cNvSpPr>
          <p:nvPr>
            <p:ph type="chart" sz="quarter" idx="13"/>
          </p:nvPr>
        </p:nvSpPr>
        <p:spPr>
          <a:xfrm>
            <a:off x="665691" y="1724854"/>
            <a:ext cx="3573463" cy="2500312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no ícone para adicionar gráfico</a:t>
            </a:r>
            <a:endParaRPr lang="pt-BR"/>
          </a:p>
        </p:txBody>
      </p:sp>
      <p:sp>
        <p:nvSpPr>
          <p:cNvPr id="9" name="Espaço Reservado para Gráfico 4"/>
          <p:cNvSpPr>
            <a:spLocks noGrp="1"/>
          </p:cNvSpPr>
          <p:nvPr>
            <p:ph type="chart" sz="quarter" idx="14"/>
          </p:nvPr>
        </p:nvSpPr>
        <p:spPr>
          <a:xfrm>
            <a:off x="4904845" y="1724400"/>
            <a:ext cx="3573463" cy="2500312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no ícone para adicionar gráfico</a:t>
            </a:r>
            <a:endParaRPr lang="pt-BR"/>
          </a:p>
        </p:txBody>
      </p:sp>
      <p:sp>
        <p:nvSpPr>
          <p:cNvPr id="15" name="CaixaDeTexto 14"/>
          <p:cNvSpPr txBox="1"/>
          <p:nvPr userDrawn="1"/>
        </p:nvSpPr>
        <p:spPr>
          <a:xfrm>
            <a:off x="406800" y="4870800"/>
            <a:ext cx="5915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Fonte:</a:t>
            </a:r>
            <a:endParaRPr lang="pt-BR" sz="8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Espaço Reservado para Texto 10"/>
          <p:cNvSpPr>
            <a:spLocks noGrp="1"/>
          </p:cNvSpPr>
          <p:nvPr>
            <p:ph type="body" sz="quarter" idx="27" hasCustomPrompt="1"/>
          </p:nvPr>
        </p:nvSpPr>
        <p:spPr>
          <a:xfrm>
            <a:off x="849313" y="4870800"/>
            <a:ext cx="3816000" cy="2154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2pPr>
            <a:lvl3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3pPr>
            <a:lvl4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4pPr>
            <a:lvl5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pt-BR" dirty="0" smtClean="0"/>
              <a:t>Modelo de legenda com letra Arial tamanho 8</a:t>
            </a:r>
            <a:endParaRPr lang="pt-BR" dirty="0"/>
          </a:p>
        </p:txBody>
      </p:sp>
      <p:sp>
        <p:nvSpPr>
          <p:cNvPr id="10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800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11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36281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texto verticai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64617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22421" y="2212474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13672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40352" y="4876006"/>
            <a:ext cx="837456" cy="267494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fld id="{34F21757-CAEC-9B46-BA5E-8BB41E742229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6885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/>
          <p:cNvSpPr>
            <a:spLocks noGrp="1"/>
          </p:cNvSpPr>
          <p:nvPr>
            <p:ph type="body" sz="quarter" idx="10" hasCustomPrompt="1"/>
          </p:nvPr>
        </p:nvSpPr>
        <p:spPr>
          <a:xfrm>
            <a:off x="824400" y="3402000"/>
            <a:ext cx="4809600" cy="954000"/>
          </a:xfr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r>
              <a:rPr lang="en-US" sz="2800" b="1" dirty="0" err="1" smtClean="0">
                <a:solidFill>
                  <a:srgbClr val="FFFFFF"/>
                </a:solidFill>
                <a:latin typeface="Arial"/>
                <a:cs typeface="Arial"/>
              </a:rPr>
              <a:t>Capítulo</a:t>
            </a:r>
            <a:r>
              <a:rPr lang="en-US" sz="2800" b="1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US" sz="2800" b="1" dirty="0" err="1" smtClean="0">
                <a:solidFill>
                  <a:srgbClr val="FFFFFF"/>
                </a:solidFill>
                <a:latin typeface="Arial"/>
                <a:cs typeface="Arial"/>
              </a:rPr>
              <a:t>em</a:t>
            </a:r>
            <a:r>
              <a:rPr lang="en-US" sz="2800" b="1" dirty="0" smtClean="0">
                <a:solidFill>
                  <a:srgbClr val="FFFFFF"/>
                </a:solidFill>
                <a:latin typeface="Arial"/>
                <a:cs typeface="Arial"/>
              </a:rPr>
              <a:t> Arial Bold</a:t>
            </a:r>
          </a:p>
          <a:p>
            <a:r>
              <a:rPr lang="en-US" sz="2800" b="1" dirty="0" err="1" smtClean="0">
                <a:solidFill>
                  <a:srgbClr val="FFFFFF"/>
                </a:solidFill>
                <a:latin typeface="Arial"/>
                <a:cs typeface="Arial"/>
              </a:rPr>
              <a:t>tamanho</a:t>
            </a:r>
            <a:r>
              <a:rPr lang="en-US" sz="2800" b="1" dirty="0" smtClean="0">
                <a:solidFill>
                  <a:srgbClr val="FFFFFF"/>
                </a:solidFill>
                <a:latin typeface="Arial"/>
                <a:cs typeface="Arial"/>
              </a:rPr>
              <a:t> 28</a:t>
            </a:r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1445635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 hasCustomPrompt="1"/>
          </p:nvPr>
        </p:nvSpPr>
        <p:spPr>
          <a:xfrm>
            <a:off x="900000" y="2361600"/>
            <a:ext cx="6534000" cy="2160000"/>
          </a:xfrm>
        </p:spPr>
        <p:txBody>
          <a:bodyPr vert="horz"/>
          <a:lstStyle>
            <a:lvl1pPr>
              <a:defRPr lang="pt-BR" sz="1400" b="1" baseline="0" dirty="0">
                <a:latin typeface="Arial"/>
                <a:ea typeface="+mj-ea"/>
                <a:cs typeface="Arial"/>
              </a:defRPr>
            </a:lvl1pPr>
          </a:lstStyle>
          <a:p>
            <a:pPr marL="0" lvl="0" defTabSz="457200">
              <a:lnSpc>
                <a:spcPct val="120000"/>
              </a:lnSpc>
              <a:spcBef>
                <a:spcPct val="0"/>
              </a:spcBef>
              <a:buNone/>
            </a:pPr>
            <a:r>
              <a:rPr lang="x-none" smtClean="0">
                <a:solidFill>
                  <a:schemeClr val="tx1"/>
                </a:solidFill>
              </a:rPr>
              <a:t>01  Página de text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2  Exemplo de destaque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6  Exemplo de subtítul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7  Modelo de Capa para Capítul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9  Aplicações com imagens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20  Modelo de tabela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</a:p>
          <a:p>
            <a:pPr marL="0" lvl="0" defTabSz="457200">
              <a:lnSpc>
                <a:spcPct val="120000"/>
              </a:lnSpc>
              <a:spcBef>
                <a:spcPct val="0"/>
              </a:spcBef>
              <a:buNone/>
            </a:pPr>
            <a:r>
              <a:rPr lang="x-none" smtClean="0">
                <a:solidFill>
                  <a:schemeClr val="tx1"/>
                </a:solidFill>
              </a:rPr>
              <a:t>21  Modelo de Gráfic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>
            <a:lvl1pPr>
              <a:defRPr lang="pt-BR" smtClean="0"/>
            </a:lvl1pPr>
          </a:lstStyle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Text Box 36"/>
          <p:cNvSpPr txBox="1">
            <a:spLocks noChangeArrowheads="1"/>
          </p:cNvSpPr>
          <p:nvPr userDrawn="1"/>
        </p:nvSpPr>
        <p:spPr bwMode="auto">
          <a:xfrm>
            <a:off x="899592" y="277366"/>
            <a:ext cx="36294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pt-PT" altLang="ja-JP" b="1" dirty="0">
                <a:solidFill>
                  <a:srgbClr val="009AA6"/>
                </a:solidFill>
                <a:latin typeface="Arial"/>
                <a:cs typeface="Arial"/>
              </a:rPr>
              <a:t>Sumário Executivo</a:t>
            </a:r>
            <a:endParaRPr lang="pt-PT" b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9" name="Text Box 36"/>
          <p:cNvSpPr txBox="1">
            <a:spLocks noChangeArrowheads="1"/>
          </p:cNvSpPr>
          <p:nvPr userDrawn="1"/>
        </p:nvSpPr>
        <p:spPr bwMode="auto">
          <a:xfrm>
            <a:off x="900000" y="1848842"/>
            <a:ext cx="235743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pt-PT" altLang="ja-JP" b="1" dirty="0">
                <a:solidFill>
                  <a:srgbClr val="009AA6"/>
                </a:solidFill>
                <a:latin typeface="Arial"/>
                <a:cs typeface="Arial"/>
              </a:rPr>
              <a:t>Índice</a:t>
            </a:r>
            <a:endParaRPr lang="pt-PT" b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3" hasCustomPrompt="1"/>
          </p:nvPr>
        </p:nvSpPr>
        <p:spPr>
          <a:xfrm>
            <a:off x="900113" y="777600"/>
            <a:ext cx="6170400" cy="856800"/>
          </a:xfrm>
        </p:spPr>
        <p:txBody>
          <a:bodyPr vert="horz"/>
          <a:lstStyle>
            <a:lvl1pPr>
              <a:defRPr lang="pt-BR" sz="1400" b="0" baseline="0" dirty="0" smtClean="0">
                <a:solidFill>
                  <a:srgbClr val="0000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lvl="0" defTabSz="457200">
              <a:lnSpc>
                <a:spcPct val="120000"/>
              </a:lnSpc>
              <a:spcBef>
                <a:spcPct val="0"/>
              </a:spcBef>
              <a:buNone/>
            </a:pPr>
            <a:r>
              <a:rPr lang="x-none" b="0" smtClean="0">
                <a:solidFill>
                  <a:srgbClr val="000000"/>
                </a:solidFill>
              </a:rPr>
              <a:t>Este é um parágrafo que deve expressar uma síntese do que será apresentado na sequência do documento. Recomenda-se letra Arial tamanho 14.</a:t>
            </a:r>
            <a:endParaRPr lang="pt-BR" b="0" dirty="0" smtClean="0">
              <a:solidFill>
                <a:srgbClr val="000000"/>
              </a:solidFill>
            </a:endParaRPr>
          </a:p>
        </p:txBody>
      </p:sp>
      <p:sp>
        <p:nvSpPr>
          <p:cNvPr id="12" name="Text Box 36"/>
          <p:cNvSpPr txBox="1">
            <a:spLocks noChangeArrowheads="1"/>
          </p:cNvSpPr>
          <p:nvPr userDrawn="1"/>
        </p:nvSpPr>
        <p:spPr bwMode="auto">
          <a:xfrm>
            <a:off x="4499992" y="4443958"/>
            <a:ext cx="23574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pt-PT" altLang="ja-JP" b="1" dirty="0" smtClean="0">
                <a:solidFill>
                  <a:srgbClr val="009AA6"/>
                </a:solidFill>
                <a:latin typeface="Arial"/>
                <a:cs typeface="Arial"/>
              </a:rPr>
              <a:t>Total de slides:</a:t>
            </a:r>
            <a:endParaRPr lang="pt-PT" b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6300193" y="4442400"/>
            <a:ext cx="504056" cy="369332"/>
          </a:xfr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defRPr lang="pt-BR" sz="1800" b="1" dirty="0">
                <a:solidFill>
                  <a:srgbClr val="009AA6"/>
                </a:solidFill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pt-BR" dirty="0" smtClean="0"/>
              <a:t>XX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53383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633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Espaço Reservado para Conteúdo 4"/>
          <p:cNvSpPr>
            <a:spLocks noGrp="1"/>
          </p:cNvSpPr>
          <p:nvPr>
            <p:ph sz="quarter" idx="11" hasCustomPrompt="1"/>
          </p:nvPr>
        </p:nvSpPr>
        <p:spPr>
          <a:xfrm>
            <a:off x="432000" y="1357200"/>
            <a:ext cx="8146800" cy="2966400"/>
          </a:xfrm>
          <a:noFill/>
        </p:spPr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001143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633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Espaço Reservado para Conteúdo 4"/>
          <p:cNvSpPr>
            <a:spLocks noGrp="1"/>
          </p:cNvSpPr>
          <p:nvPr>
            <p:ph sz="quarter" idx="11" hasCustomPrompt="1"/>
          </p:nvPr>
        </p:nvSpPr>
        <p:spPr>
          <a:xfrm>
            <a:off x="432000" y="1357200"/>
            <a:ext cx="8146800" cy="2555380"/>
          </a:xfrm>
          <a:noFill/>
        </p:spPr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r>
              <a:rPr lang="en-US" sz="1600" b="1" dirty="0" err="1" smtClean="0">
                <a:latin typeface="Arial"/>
                <a:cs typeface="Arial"/>
              </a:rPr>
              <a:t>Subtítulo</a:t>
            </a:r>
            <a:r>
              <a:rPr lang="en-US" sz="1600" b="1" dirty="0" smtClean="0">
                <a:latin typeface="Arial"/>
                <a:cs typeface="Arial"/>
              </a:rPr>
              <a:t> com </a:t>
            </a:r>
            <a:r>
              <a:rPr lang="en-US" sz="1600" b="1" dirty="0" err="1" smtClean="0">
                <a:latin typeface="Arial"/>
                <a:cs typeface="Arial"/>
              </a:rPr>
              <a:t>fonte</a:t>
            </a:r>
            <a:r>
              <a:rPr lang="en-US" sz="1600" b="1" dirty="0" smtClean="0">
                <a:latin typeface="Arial"/>
                <a:cs typeface="Arial"/>
              </a:rPr>
              <a:t> Arial Bold </a:t>
            </a:r>
            <a:r>
              <a:rPr lang="en-US" sz="1600" b="1" dirty="0" err="1" smtClean="0">
                <a:latin typeface="Arial"/>
                <a:cs typeface="Arial"/>
              </a:rPr>
              <a:t>tamanho</a:t>
            </a:r>
            <a:r>
              <a:rPr lang="en-US" sz="1600" b="1" dirty="0" smtClean="0">
                <a:latin typeface="Arial"/>
                <a:cs typeface="Arial"/>
              </a:rPr>
              <a:t> 16</a:t>
            </a:r>
          </a:p>
          <a:p>
            <a:r>
              <a:rPr lang="en-US" sz="1400" dirty="0" err="1" smtClean="0">
                <a:latin typeface="Arial"/>
                <a:cs typeface="Arial"/>
              </a:rPr>
              <a:t>Lor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ipsum</a:t>
            </a:r>
            <a:r>
              <a:rPr lang="en-US" sz="1400" dirty="0" smtClean="0">
                <a:latin typeface="Arial"/>
                <a:cs typeface="Arial"/>
              </a:rPr>
              <a:t> dolor sit </a:t>
            </a:r>
            <a:r>
              <a:rPr lang="en-US" sz="1400" dirty="0" err="1" smtClean="0">
                <a:latin typeface="Arial"/>
                <a:cs typeface="Arial"/>
              </a:rPr>
              <a:t>amet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consectetur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adipiscing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elit</a:t>
            </a:r>
            <a:r>
              <a:rPr lang="en-US" sz="1400" dirty="0" smtClean="0">
                <a:latin typeface="Arial"/>
                <a:cs typeface="Arial"/>
              </a:rPr>
              <a:t>. </a:t>
            </a:r>
            <a:r>
              <a:rPr lang="en-US" sz="1400" dirty="0" err="1" smtClean="0">
                <a:latin typeface="Arial"/>
                <a:cs typeface="Arial"/>
              </a:rPr>
              <a:t>Pellentesque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urn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leo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vehicul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vel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pulvinar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ut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tincidunt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qui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enim</a:t>
            </a:r>
            <a:r>
              <a:rPr lang="en-US" sz="1400" dirty="0" smtClean="0">
                <a:latin typeface="Arial"/>
                <a:cs typeface="Arial"/>
              </a:rPr>
              <a:t>. </a:t>
            </a:r>
          </a:p>
          <a:p>
            <a:endParaRPr lang="en-US" sz="1400" dirty="0" smtClean="0">
              <a:latin typeface="Arial"/>
              <a:cs typeface="Arial"/>
            </a:endParaRPr>
          </a:p>
          <a:p>
            <a:r>
              <a:rPr lang="en-US" sz="1400" dirty="0" err="1" smtClean="0">
                <a:latin typeface="Arial"/>
                <a:cs typeface="Arial"/>
              </a:rPr>
              <a:t>Vestibulu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venenati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ipsu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d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vulputate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eleifend</a:t>
            </a:r>
            <a:r>
              <a:rPr lang="en-US" sz="1400" dirty="0" smtClean="0">
                <a:latin typeface="Arial"/>
                <a:cs typeface="Arial"/>
              </a:rPr>
              <a:t>. Integer </a:t>
            </a:r>
            <a:r>
              <a:rPr lang="en-US" sz="1400" dirty="0" err="1" smtClean="0">
                <a:latin typeface="Arial"/>
                <a:cs typeface="Arial"/>
              </a:rPr>
              <a:t>nunc</a:t>
            </a:r>
            <a:r>
              <a:rPr lang="en-US" sz="1400" dirty="0" smtClean="0">
                <a:latin typeface="Arial"/>
                <a:cs typeface="Arial"/>
              </a:rPr>
              <a:t> quam, dictum </a:t>
            </a:r>
            <a:r>
              <a:rPr lang="en-US" sz="1400" dirty="0" err="1" smtClean="0">
                <a:latin typeface="Arial"/>
                <a:cs typeface="Arial"/>
              </a:rPr>
              <a:t>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ut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variu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agitti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nisl</a:t>
            </a:r>
            <a:r>
              <a:rPr lang="en-US" sz="1400" dirty="0" smtClean="0">
                <a:latin typeface="Arial"/>
                <a:cs typeface="Arial"/>
              </a:rPr>
              <a:t>. </a:t>
            </a:r>
            <a:r>
              <a:rPr lang="en-US" sz="1400" dirty="0" err="1" smtClean="0">
                <a:latin typeface="Arial"/>
                <a:cs typeface="Arial"/>
              </a:rPr>
              <a:t>Aenean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lectu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risus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aliquet</a:t>
            </a:r>
            <a:r>
              <a:rPr lang="en-US" sz="1400" dirty="0" smtClean="0">
                <a:latin typeface="Arial"/>
                <a:cs typeface="Arial"/>
              </a:rPr>
              <a:t> a </a:t>
            </a:r>
            <a:r>
              <a:rPr lang="en-US" sz="1400" dirty="0" err="1" smtClean="0">
                <a:latin typeface="Arial"/>
                <a:cs typeface="Arial"/>
              </a:rPr>
              <a:t>laoreet</a:t>
            </a:r>
            <a:r>
              <a:rPr lang="en-US" sz="1400" dirty="0" smtClean="0">
                <a:latin typeface="Arial"/>
                <a:cs typeface="Arial"/>
              </a:rPr>
              <a:t> non, </a:t>
            </a:r>
            <a:r>
              <a:rPr lang="en-US" sz="1400" dirty="0" err="1" smtClean="0">
                <a:latin typeface="Arial"/>
                <a:cs typeface="Arial"/>
              </a:rPr>
              <a:t>pulvinar</a:t>
            </a:r>
            <a:r>
              <a:rPr lang="en-US" sz="1400" dirty="0" smtClean="0">
                <a:latin typeface="Arial"/>
                <a:cs typeface="Arial"/>
              </a:rPr>
              <a:t> at </a:t>
            </a:r>
            <a:r>
              <a:rPr lang="en-US" sz="1400" dirty="0" err="1" smtClean="0">
                <a:latin typeface="Arial"/>
                <a:cs typeface="Arial"/>
              </a:rPr>
              <a:t>lorem</a:t>
            </a:r>
            <a:r>
              <a:rPr lang="en-US" sz="1400" dirty="0" smtClean="0">
                <a:latin typeface="Arial"/>
                <a:cs typeface="Arial"/>
              </a:rPr>
              <a:t>.</a:t>
            </a:r>
          </a:p>
          <a:p>
            <a:endParaRPr lang="en-US" sz="1400" dirty="0" smtClean="0">
              <a:latin typeface="Arial"/>
              <a:cs typeface="Arial"/>
            </a:endParaRPr>
          </a:p>
          <a:p>
            <a:pPr eaLnBrk="0" hangingPunct="0"/>
            <a:r>
              <a:rPr lang="pt-PT" sz="1400" i="1" dirty="0" smtClean="0">
                <a:latin typeface="Arial"/>
                <a:cs typeface="Arial"/>
              </a:rPr>
              <a:t>Recomenda-se letra Arial tamanho 14. Faça sempre o alinhamento do seu texto à esquerda, sem justificar.</a:t>
            </a:r>
          </a:p>
          <a:p>
            <a:pPr lvl="0" defTabSz="457200">
              <a:lnSpc>
                <a:spcPct val="120000"/>
              </a:lnSpc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016496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633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6" name="CaixaDeTexto 5"/>
          <p:cNvSpPr txBox="1"/>
          <p:nvPr userDrawn="1"/>
        </p:nvSpPr>
        <p:spPr>
          <a:xfrm>
            <a:off x="406800" y="4870800"/>
            <a:ext cx="5915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Fonte:</a:t>
            </a:r>
            <a:endParaRPr lang="pt-BR" sz="8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Espaço Reservado para Texto 10"/>
          <p:cNvSpPr>
            <a:spLocks noGrp="1"/>
          </p:cNvSpPr>
          <p:nvPr>
            <p:ph type="body" sz="quarter" idx="27" hasCustomPrompt="1"/>
          </p:nvPr>
        </p:nvSpPr>
        <p:spPr>
          <a:xfrm>
            <a:off x="849313" y="4870800"/>
            <a:ext cx="3816000" cy="2154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2pPr>
            <a:lvl3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3pPr>
            <a:lvl4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4pPr>
            <a:lvl5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pt-BR" dirty="0" smtClean="0"/>
              <a:t>Modelo de legenda com letra Arial tamanho 8</a:t>
            </a:r>
            <a:endParaRPr lang="pt-BR" dirty="0"/>
          </a:p>
        </p:txBody>
      </p:sp>
      <p:sp>
        <p:nvSpPr>
          <p:cNvPr id="10" name="Espaço Reservado para Tabela 9"/>
          <p:cNvSpPr>
            <a:spLocks noGrp="1"/>
          </p:cNvSpPr>
          <p:nvPr>
            <p:ph type="tbl" sz="quarter" idx="28"/>
          </p:nvPr>
        </p:nvSpPr>
        <p:spPr>
          <a:xfrm>
            <a:off x="432000" y="1357200"/>
            <a:ext cx="8330400" cy="2966400"/>
          </a:xfrm>
        </p:spPr>
        <p:txBody>
          <a:bodyPr/>
          <a:lstStyle/>
          <a:p>
            <a:r>
              <a:rPr lang="pt-BR" smtClean="0"/>
              <a:t>Clique no ícone para adicionar tabela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943248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 hasCustomPrompt="1"/>
          </p:nvPr>
        </p:nvSpPr>
        <p:spPr>
          <a:xfrm>
            <a:off x="432000" y="1357199"/>
            <a:ext cx="40386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8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0" name="Espaço Reservado para Conteúdo 2"/>
          <p:cNvSpPr>
            <a:spLocks noGrp="1"/>
          </p:cNvSpPr>
          <p:nvPr>
            <p:ph sz="half" idx="11" hasCustomPrompt="1"/>
          </p:nvPr>
        </p:nvSpPr>
        <p:spPr>
          <a:xfrm>
            <a:off x="4622400" y="1357200"/>
            <a:ext cx="40386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3532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 hasCustomPrompt="1"/>
          </p:nvPr>
        </p:nvSpPr>
        <p:spPr>
          <a:xfrm>
            <a:off x="432000" y="1357199"/>
            <a:ext cx="26928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8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0" name="Espaço Reservado para Conteúdo 2"/>
          <p:cNvSpPr>
            <a:spLocks noGrp="1"/>
          </p:cNvSpPr>
          <p:nvPr>
            <p:ph sz="half" idx="11" hasCustomPrompt="1"/>
          </p:nvPr>
        </p:nvSpPr>
        <p:spPr>
          <a:xfrm>
            <a:off x="3276000" y="1357200"/>
            <a:ext cx="26928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6" name="Espaço Reservado para Conteúdo 2"/>
          <p:cNvSpPr>
            <a:spLocks noGrp="1"/>
          </p:cNvSpPr>
          <p:nvPr>
            <p:ph sz="half" idx="12" hasCustomPrompt="1"/>
          </p:nvPr>
        </p:nvSpPr>
        <p:spPr>
          <a:xfrm>
            <a:off x="6120000" y="1357200"/>
            <a:ext cx="26928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703030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 hasCustomPrompt="1"/>
          </p:nvPr>
        </p:nvSpPr>
        <p:spPr>
          <a:xfrm>
            <a:off x="432000" y="1357199"/>
            <a:ext cx="8078400" cy="1080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8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1" name="Espaço Reservado para Conteúdo 2"/>
          <p:cNvSpPr>
            <a:spLocks noGrp="1"/>
          </p:cNvSpPr>
          <p:nvPr>
            <p:ph sz="half" idx="11" hasCustomPrompt="1"/>
          </p:nvPr>
        </p:nvSpPr>
        <p:spPr>
          <a:xfrm>
            <a:off x="432000" y="2538000"/>
            <a:ext cx="8078400" cy="1080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12" name="Espaço Reservado para Conteúdo 2"/>
          <p:cNvSpPr>
            <a:spLocks noGrp="1"/>
          </p:cNvSpPr>
          <p:nvPr>
            <p:ph sz="half" idx="12" hasCustomPrompt="1"/>
          </p:nvPr>
        </p:nvSpPr>
        <p:spPr>
          <a:xfrm>
            <a:off x="432000" y="3723878"/>
            <a:ext cx="8078400" cy="1080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06804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80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lvl="0" algn="l" defTabSz="457200"/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32000" y="1357200"/>
            <a:ext cx="8146800" cy="601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</a:p>
          <a:p>
            <a:pPr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74361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61" r:id="rId4"/>
    <p:sldLayoutId id="2147483662" r:id="rId5"/>
    <p:sldLayoutId id="2147483666" r:id="rId6"/>
    <p:sldLayoutId id="2147483652" r:id="rId7"/>
    <p:sldLayoutId id="2147483663" r:id="rId8"/>
    <p:sldLayoutId id="2147483664" r:id="rId9"/>
    <p:sldLayoutId id="2147483665" r:id="rId10"/>
    <p:sldLayoutId id="2147483659" r:id="rId11"/>
    <p:sldLayoutId id="2147483667" r:id="rId12"/>
    <p:sldLayoutId id="2147483668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lang="pt-BR" sz="1800" b="1" kern="1200" dirty="0">
          <a:solidFill>
            <a:srgbClr val="009AA6"/>
          </a:solidFill>
          <a:latin typeface="Arial"/>
          <a:ea typeface="+mn-ea"/>
          <a:cs typeface="Arial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400" kern="1200" smtClean="0">
          <a:solidFill>
            <a:schemeClr val="tx1"/>
          </a:solidFill>
          <a:latin typeface="Arial"/>
          <a:ea typeface="+mn-ea"/>
          <a:cs typeface="Arial"/>
        </a:defRPr>
      </a:lvl1pPr>
      <a:lvl2pPr marL="17145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60020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hyperlink" Target="http://www.google.com/url?sa=i&amp;rct=j&amp;q=&amp;esrc=s&amp;frm=1&amp;source=images&amp;cd=&amp;cad=rja&amp;uact=8&amp;docid=edD-buL53um6rM&amp;tbnid=_ZDhMXd30Qq73M:&amp;ved=0CAUQjRw&amp;url=http://www.ibm.com/developerworks/rational/library/754.html&amp;ei=poHeU9PADMLIsAT-vIHQBQ&amp;bvm=bv.72197243,d.cWc&amp;psig=AFQjCNF8r3pN87yJaNoc-Vt_F7gVJHq1ng&amp;ust=1407177429275034" TargetMode="Externa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4" Type="http://schemas.openxmlformats.org/officeDocument/2006/relationships/image" Target="../media/image19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6.jpeg"/><Relationship Id="rId5" Type="http://schemas.openxmlformats.org/officeDocument/2006/relationships/hyperlink" Target="http://www.google.com/url?sa=i&amp;rct=j&amp;q=&amp;esrc=s&amp;frm=1&amp;source=images&amp;cd=&amp;cad=rja&amp;uact=8&amp;docid=edD-buL53um6rM&amp;tbnid=_ZDhMXd30Qq73M:&amp;ved=0CAUQjRw&amp;url=http://www.ibm.com/developerworks/rational/library/754.html&amp;ei=poHeU9PADMLIsAT-vIHQBQ&amp;bvm=bv.72197243,d.cWc&amp;psig=AFQjCNF8r3pN87yJaNoc-Vt_F7gVJHq1ng&amp;ust=1407177429275034" TargetMode="External"/><Relationship Id="rId4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2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/>
          <p:cNvSpPr>
            <a:spLocks noGrp="1"/>
          </p:cNvSpPr>
          <p:nvPr>
            <p:ph type="ctrTitle"/>
          </p:nvPr>
        </p:nvSpPr>
        <p:spPr>
          <a:xfrm>
            <a:off x="3275984" y="1563638"/>
            <a:ext cx="5544488" cy="1800200"/>
          </a:xfrm>
        </p:spPr>
        <p:txBody>
          <a:bodyPr>
            <a:noAutofit/>
          </a:bodyPr>
          <a:lstStyle/>
          <a:p>
            <a:r>
              <a:rPr lang="pt-BR" sz="4000" dirty="0" smtClean="0"/>
              <a:t>Escola SOA</a:t>
            </a:r>
            <a:r>
              <a:rPr lang="pt-BR" sz="2800" dirty="0" smtClean="0"/>
              <a:t/>
            </a:r>
            <a:br>
              <a:rPr lang="pt-BR" sz="2800" dirty="0" smtClean="0"/>
            </a:br>
            <a:r>
              <a:rPr lang="pt-BR" sz="2800" dirty="0" smtClean="0"/>
              <a:t>Módulo IV</a:t>
            </a:r>
            <a:br>
              <a:rPr lang="pt-BR" sz="2800" dirty="0" smtClean="0"/>
            </a:br>
            <a:r>
              <a:rPr lang="pt-BR" sz="2400" dirty="0" smtClean="0"/>
              <a:t>Dados para SOA</a:t>
            </a:r>
            <a:br>
              <a:rPr lang="pt-BR" sz="2400" dirty="0" smtClean="0"/>
            </a:br>
            <a:r>
              <a:rPr lang="pt-BR" sz="2000" dirty="0" smtClean="0"/>
              <a:t>v0.10</a:t>
            </a:r>
            <a:endParaRPr lang="pt-BR" sz="2000" b="0" i="1" dirty="0"/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821057"/>
              </p:ext>
            </p:extLst>
          </p:nvPr>
        </p:nvGraphicFramePr>
        <p:xfrm>
          <a:off x="3275984" y="3620998"/>
          <a:ext cx="3672408" cy="82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264029">
                <a:tc>
                  <a:txBody>
                    <a:bodyPr/>
                    <a:lstStyle/>
                    <a:p>
                      <a:r>
                        <a:rPr lang="pt-BR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Dir. Arquitetura </a:t>
                      </a:r>
                      <a:r>
                        <a:rPr lang="pt-BR" sz="12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e Novas Tecnologias</a:t>
                      </a:r>
                      <a:endParaRPr lang="pt-BR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264029">
                <a:tc>
                  <a:txBody>
                    <a:bodyPr/>
                    <a:lstStyle/>
                    <a:p>
                      <a:r>
                        <a:rPr lang="pt-BR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Ger. Arquitetura de Dados</a:t>
                      </a:r>
                      <a:endParaRPr lang="pt-BR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264029">
                <a:tc>
                  <a:txBody>
                    <a:bodyPr/>
                    <a:lstStyle/>
                    <a:p>
                      <a:r>
                        <a:rPr lang="pt-BR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io de Janeiro</a:t>
                      </a:r>
                      <a:r>
                        <a:rPr lang="pt-BR" sz="12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| 2015</a:t>
                      </a:r>
                      <a:endParaRPr lang="pt-BR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7967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0464" y="1203598"/>
            <a:ext cx="47896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eaLnBrk="0" hangingPunct="0"/>
            <a:r>
              <a:rPr lang="pt-PT" altLang="pt-PT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anônico </a:t>
            </a:r>
            <a:r>
              <a:rPr lang="pt-PT" altLang="pt-PT" sz="12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dj</a:t>
            </a:r>
            <a:r>
              <a:rPr lang="pt-PT" altLang="pt-PT" sz="1200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pt-PT" altLang="pt-PT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0" lvl="1" algn="just" eaLnBrk="0" hangingPunct="0"/>
            <a:r>
              <a:rPr lang="pt-PT" altLang="pt-PT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Que </a:t>
            </a:r>
            <a:r>
              <a:rPr lang="pt-PT" altLang="pt-PT" sz="14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stá de acordo </a:t>
            </a:r>
            <a:r>
              <a:rPr lang="pt-PT" altLang="pt-PT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m </a:t>
            </a:r>
            <a:r>
              <a:rPr lang="pt-PT" altLang="pt-PT" sz="14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s normas estabelecidas ou </a:t>
            </a:r>
            <a:r>
              <a:rPr lang="pt-PT" altLang="pt-PT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vencionadas; Normativo</a:t>
            </a:r>
            <a:r>
              <a:rPr lang="pt-PT" altLang="pt-PT" sz="14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; que estabelece </a:t>
            </a:r>
            <a:r>
              <a:rPr lang="pt-PT" altLang="pt-PT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gras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57104" y="2125181"/>
            <a:ext cx="4402928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eaLnBrk="0" hangingPunct="0"/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m </a:t>
            </a:r>
            <a:r>
              <a:rPr lang="pt-PT" altLang="pt-PT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elo Canônico de Dados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constitui um </a:t>
            </a:r>
            <a:r>
              <a:rPr lang="pt-PT" altLang="pt-PT" sz="1400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elo lógico de informação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metadados) representando as </a:t>
            </a:r>
            <a:r>
              <a:rPr lang="pt-PT" altLang="pt-PT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ntidades de negócio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 interesse para uma 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ganização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bem como os atributos que as caracterizam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lvl="1" eaLnBrk="0" hangingPunct="0"/>
            <a:endParaRPr lang="pt-PT" altLang="pt-PT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0" lvl="1" eaLnBrk="0" hangingPunct="0"/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presentará o </a:t>
            </a:r>
            <a:r>
              <a:rPr lang="pt-PT" altLang="pt-PT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ocabulário comum </a:t>
            </a:r>
            <a:r>
              <a:rPr lang="pt-PT" altLang="pt-PT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pt-PT" altLang="pt-PT" sz="1400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ingua Franca</a:t>
            </a:r>
            <a:r>
              <a:rPr lang="pt-PT" altLang="pt-PT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  <a:r>
              <a:rPr lang="pt-PT" altLang="pt-PT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tilizado por 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plicações e/ou sistemas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que tenham 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 passar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ntre elas informação relevante, através 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a </a:t>
            </a:r>
            <a:r>
              <a:rPr lang="pt-PT" altLang="pt-PT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tegração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para a execução de processos de 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egócio.</a:t>
            </a:r>
            <a:endParaRPr lang="pt-PT" altLang="pt-PT" sz="1400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6" name="Picture 2" descr="http://www.ibm.com/developerworks/rational/library/content/03July/2000/2428/2428_fig7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088" y="1131590"/>
            <a:ext cx="3504339" cy="3383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4"/>
          <p:cNvSpPr txBox="1"/>
          <p:nvPr/>
        </p:nvSpPr>
        <p:spPr>
          <a:xfrm>
            <a:off x="5868144" y="4660562"/>
            <a:ext cx="275588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 smtClean="0"/>
              <a:t>Fonte: IBM, “</a:t>
            </a:r>
            <a:r>
              <a:rPr lang="pt-BR" sz="800" dirty="0" err="1" smtClean="0"/>
              <a:t>Modeling</a:t>
            </a:r>
            <a:r>
              <a:rPr lang="pt-BR" sz="800" dirty="0" smtClean="0"/>
              <a:t> </a:t>
            </a:r>
            <a:r>
              <a:rPr lang="pt-BR" sz="800" dirty="0" err="1" smtClean="0"/>
              <a:t>the</a:t>
            </a:r>
            <a:r>
              <a:rPr lang="pt-BR" sz="800" dirty="0" smtClean="0"/>
              <a:t> </a:t>
            </a:r>
            <a:r>
              <a:rPr lang="pt-BR" sz="800" dirty="0" err="1" smtClean="0"/>
              <a:t>enterprise</a:t>
            </a:r>
            <a:r>
              <a:rPr lang="pt-BR" sz="800" dirty="0" smtClean="0"/>
              <a:t> data </a:t>
            </a:r>
            <a:r>
              <a:rPr lang="pt-BR" sz="800" dirty="0" err="1" smtClean="0"/>
              <a:t>arquiteture</a:t>
            </a:r>
            <a:r>
              <a:rPr lang="pt-BR" sz="800" dirty="0" smtClean="0"/>
              <a:t>”, 2003</a:t>
            </a:r>
            <a:endParaRPr lang="pt-BR" sz="800" dirty="0"/>
          </a:p>
        </p:txBody>
      </p:sp>
      <p:sp>
        <p:nvSpPr>
          <p:cNvPr id="9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10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/>
              <a:t>Governança de Dados para Integração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Conceito do Modelo Canônico (Modelo Corporativo de Dados)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93571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srgbClr val="009AA6"/>
                </a:solidFill>
                <a:latin typeface="Arial"/>
                <a:cs typeface="Arial"/>
              </a:rPr>
              <a:t>Governança </a:t>
            </a:r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de Dados para Integração</a:t>
            </a:r>
            <a:endParaRPr lang="pt-BR" b="1" dirty="0" smtClean="0">
              <a:solidFill>
                <a:srgbClr val="009AA6"/>
              </a:solidFill>
              <a:latin typeface="Arial"/>
              <a:cs typeface="Arial"/>
            </a:endParaRPr>
          </a:p>
          <a:p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Canônico! Para que serve?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30464" y="1358431"/>
            <a:ext cx="3385256" cy="1643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400">
                <a:latin typeface="Arial"/>
                <a:cs typeface="Arial"/>
              </a:defRPr>
            </a:lvl1pPr>
            <a:lvl2pPr marL="0" lvl="1" eaLnBrk="0" hangingPunct="0"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</a:lstStyle>
          <a:p>
            <a:r>
              <a:rPr lang="pt-BR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m </a:t>
            </a:r>
            <a:r>
              <a:rPr lang="pt-BR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elo Canônico </a:t>
            </a:r>
            <a:r>
              <a:rPr lang="pt-BR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em como sua principal função fornecer um </a:t>
            </a:r>
            <a:r>
              <a:rPr lang="pt-BR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icionário </a:t>
            </a:r>
            <a:r>
              <a:rPr lang="pt-BR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 objetos comuns reutilizáveis e definições a </a:t>
            </a:r>
            <a:r>
              <a:rPr lang="pt-BR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ível </a:t>
            </a:r>
            <a:r>
              <a:rPr lang="pt-BR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rporativo </a:t>
            </a:r>
            <a:r>
              <a:rPr lang="pt-BR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u </a:t>
            </a:r>
            <a:r>
              <a:rPr lang="pt-BR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 </a:t>
            </a:r>
            <a:r>
              <a:rPr lang="pt-BR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omínio</a:t>
            </a:r>
            <a:r>
              <a:rPr lang="pt-BR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de negócios para melhorar a </a:t>
            </a:r>
            <a:r>
              <a:rPr lang="pt-BR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teroperabilidade</a:t>
            </a:r>
            <a:r>
              <a:rPr lang="pt-BR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dos sistemas.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4139952" y="1563638"/>
            <a:ext cx="4656808" cy="2727135"/>
            <a:chOff x="1835696" y="2160250"/>
            <a:chExt cx="5400600" cy="2664296"/>
          </a:xfrm>
        </p:grpSpPr>
        <p:pic>
          <p:nvPicPr>
            <p:cNvPr id="24" name="Picture 23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5696" y="2160250"/>
              <a:ext cx="5400600" cy="2664296"/>
            </a:xfrm>
            <a:prstGeom prst="rect">
              <a:avLst/>
            </a:prstGeom>
            <a:noFill/>
          </p:spPr>
        </p:pic>
        <p:sp>
          <p:nvSpPr>
            <p:cNvPr id="25" name="Rectangle 24"/>
            <p:cNvSpPr/>
            <p:nvPr/>
          </p:nvSpPr>
          <p:spPr>
            <a:xfrm>
              <a:off x="1866114" y="2180912"/>
              <a:ext cx="1245600" cy="252000"/>
            </a:xfrm>
            <a:prstGeom prst="rect">
              <a:avLst/>
            </a:prstGeom>
            <a:ln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100" dirty="0" smtClean="0"/>
                <a:t>Aplicações</a:t>
              </a:r>
              <a:endParaRPr lang="pt-BR" sz="1100" dirty="0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3419962" y="2180798"/>
              <a:ext cx="3780000" cy="252000"/>
            </a:xfrm>
            <a:prstGeom prst="rect">
              <a:avLst/>
            </a:prstGeom>
            <a:ln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100" dirty="0" smtClean="0"/>
                <a:t>Arquitetura de Informação</a:t>
              </a:r>
              <a:endParaRPr lang="pt-BR" sz="1100" dirty="0"/>
            </a:p>
          </p:txBody>
        </p:sp>
      </p:grpSp>
      <p:sp>
        <p:nvSpPr>
          <p:cNvPr id="30" name="TextBox 29"/>
          <p:cNvSpPr txBox="1"/>
          <p:nvPr/>
        </p:nvSpPr>
        <p:spPr>
          <a:xfrm>
            <a:off x="457104" y="3219822"/>
            <a:ext cx="3358616" cy="1126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defRPr sz="1400">
                <a:latin typeface="Arial"/>
                <a:cs typeface="Arial"/>
              </a:defRPr>
            </a:lvl1pPr>
            <a:lvl2pPr marL="0" lvl="1" eaLnBrk="0" hangingPunct="0"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</a:lstStyle>
          <a:p>
            <a:r>
              <a:rPr lang="pt-PT" altLang="pt-PT" dirty="0" smtClean="0"/>
              <a:t>Através </a:t>
            </a:r>
            <a:r>
              <a:rPr lang="pt-PT" altLang="pt-PT" dirty="0"/>
              <a:t>da utilização de </a:t>
            </a:r>
            <a:r>
              <a:rPr lang="pt-PT" altLang="pt-PT" b="1" dirty="0"/>
              <a:t>terminologia comum</a:t>
            </a:r>
            <a:r>
              <a:rPr lang="pt-PT" altLang="pt-PT" dirty="0"/>
              <a:t> e </a:t>
            </a:r>
            <a:r>
              <a:rPr lang="pt-PT" altLang="pt-PT" b="1" dirty="0"/>
              <a:t>consistente</a:t>
            </a:r>
            <a:r>
              <a:rPr lang="pt-PT" altLang="pt-PT" dirty="0"/>
              <a:t> permite a reutilização da informação e rentabilizar o investimento tecnológico</a:t>
            </a:r>
            <a:r>
              <a:rPr lang="pt-PT" altLang="pt-PT" dirty="0" smtClean="0"/>
              <a:t>.</a:t>
            </a:r>
            <a:endParaRPr lang="pt-BR" dirty="0"/>
          </a:p>
        </p:txBody>
      </p:sp>
      <p:sp>
        <p:nvSpPr>
          <p:cNvPr id="11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11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5463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Conteúdo 3"/>
          <p:cNvSpPr txBox="1">
            <a:spLocks/>
          </p:cNvSpPr>
          <p:nvPr/>
        </p:nvSpPr>
        <p:spPr>
          <a:xfrm>
            <a:off x="432000" y="1131590"/>
            <a:ext cx="824445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 </a:t>
            </a: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delo Canônico de Dados 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é </a:t>
            </a:r>
            <a:r>
              <a:rPr lang="pt-BR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ão o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delo lógico de informação corporativa </a:t>
            </a:r>
            <a:r>
              <a:rPr kumimoji="0" lang="pt-BR" sz="14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 Oi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simplificado e suficientemente genérico para representar, numa linguagem comum, as entidades de negócio, bem como os atributos que as caracterizam e como se relacionam entre si</a:t>
            </a:r>
            <a:r>
              <a:rPr kumimoji="0" lang="pt-BR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e com os sistemas e/ou aplicações fontes desses dados.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Espaço Reservado para Conteúdo 3"/>
          <p:cNvSpPr txBox="1">
            <a:spLocks/>
          </p:cNvSpPr>
          <p:nvPr/>
        </p:nvSpPr>
        <p:spPr>
          <a:xfrm>
            <a:off x="2483768" y="2141092"/>
            <a:ext cx="6192688" cy="28069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fine o dicionário </a:t>
            </a: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kumimoji="0" lang="pt-P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ceitos</a:t>
            </a: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emântica, i.e. significado) da organização e identifica as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tidades de negócio 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cliente, ordem, conta fatura, etc..), alinhado ao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ID*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MForum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kumimoji="0" lang="pt-PT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fine os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tributos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 cada entidade de negócio (atributos identificadores, base e extensão), </a:t>
            </a: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dicando as respetivas </a:t>
            </a:r>
            <a:r>
              <a:rPr kumimoji="0" lang="pt-P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aracterísticas</a:t>
            </a: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dentifica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ssociações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tre as diferentes entidades através de diagramas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pt-BR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ca e </a:t>
            </a:r>
            <a:r>
              <a:rPr lang="pt-BR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ciona as entidades </a:t>
            </a:r>
            <a:r>
              <a:rPr lang="pt-BR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negócio corporativas com os </a:t>
            </a:r>
            <a:r>
              <a:rPr lang="pt-BR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stemas e/ou aplicações que as implementam</a:t>
            </a:r>
            <a:r>
              <a:rPr lang="pt-BR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kumimoji="0" lang="pt-BR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fine a </a:t>
            </a: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presentação técnica 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s entidades (i.e. 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intaxe – tipo, formato, tamanho, etc.. ) e identifica os atributos com valores fechados, que definimos como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dos referência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kumimoji="0" lang="pt-BR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285" y="2251457"/>
            <a:ext cx="1803467" cy="2696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/>
              <a:t>Governança de Dados para Integração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Modelo Canônico na Oi</a:t>
            </a:r>
            <a:endParaRPr lang="pt-BR" dirty="0"/>
          </a:p>
        </p:txBody>
      </p:sp>
      <p:sp>
        <p:nvSpPr>
          <p:cNvPr id="12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12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17246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3923928" y="1193140"/>
            <a:ext cx="4752528" cy="3539430"/>
          </a:xfrm>
          <a:prstGeom prst="rect">
            <a:avLst/>
          </a:prstGeom>
        </p:spPr>
        <p:txBody>
          <a:bodyPr wrap="square" anchor="t" anchorCtr="0">
            <a:spAutoFit/>
          </a:bodyPr>
          <a:lstStyle/>
          <a:p>
            <a:pPr marL="0" lvl="1" eaLnBrk="0" hangingPunct="0"/>
            <a:r>
              <a:rPr lang="pt-BR" sz="1400" dirty="0" smtClean="0">
                <a:latin typeface="Arial" pitchFamily="34" charset="0"/>
                <a:cs typeface="Arial" pitchFamily="34" charset="0"/>
              </a:rPr>
              <a:t>O </a:t>
            </a:r>
            <a:r>
              <a:rPr lang="pt-BR" sz="1400" b="1" dirty="0" smtClean="0">
                <a:latin typeface="Arial" pitchFamily="34" charset="0"/>
                <a:cs typeface="Arial" pitchFamily="34" charset="0"/>
              </a:rPr>
              <a:t>Modelo Canônico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será instanciado em </a:t>
            </a:r>
            <a:r>
              <a:rPr lang="pt-BR" sz="1400" b="1" dirty="0" smtClean="0">
                <a:latin typeface="Arial" pitchFamily="34" charset="0"/>
                <a:cs typeface="Arial" pitchFamily="34" charset="0"/>
              </a:rPr>
              <a:t>modelos de dados de integração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, que servirão de  </a:t>
            </a:r>
            <a:r>
              <a:rPr lang="pt-BR" sz="1400" b="1" i="1" dirty="0" smtClean="0">
                <a:latin typeface="Arial" pitchFamily="34" charset="0"/>
                <a:cs typeface="Arial" pitchFamily="34" charset="0"/>
              </a:rPr>
              <a:t>contrato de integração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entre sistemas e/ou aplicações, relativamente a um </a:t>
            </a:r>
            <a:r>
              <a:rPr lang="pt-BR" sz="1400" u="sng" dirty="0" err="1" smtClean="0">
                <a:latin typeface="Arial" pitchFamily="34" charset="0"/>
                <a:cs typeface="Arial" pitchFamily="34" charset="0"/>
              </a:rPr>
              <a:t>sub-conjunto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 da informação existente no Modelo Canônico.</a:t>
            </a:r>
          </a:p>
          <a:p>
            <a:pPr marL="0" lvl="1" eaLnBrk="0" hangingPunct="0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marL="0" lvl="1" eaLnBrk="0" hangingPunct="0"/>
            <a:r>
              <a:rPr lang="pt-BR" sz="1400" dirty="0" smtClean="0">
                <a:latin typeface="Arial" pitchFamily="34" charset="0"/>
                <a:cs typeface="Arial" pitchFamily="34" charset="0"/>
              </a:rPr>
              <a:t>Será a </a:t>
            </a:r>
            <a:r>
              <a:rPr lang="pt-BR" sz="1400" b="1" dirty="0" smtClean="0">
                <a:latin typeface="Arial" pitchFamily="34" charset="0"/>
                <a:cs typeface="Arial" pitchFamily="34" charset="0"/>
              </a:rPr>
              <a:t>instanciação técnica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deste modelo que será </a:t>
            </a:r>
            <a:r>
              <a:rPr lang="pt-BR" sz="1400" i="1" dirty="0" smtClean="0">
                <a:latin typeface="Arial" pitchFamily="34" charset="0"/>
                <a:cs typeface="Arial" pitchFamily="34" charset="0"/>
              </a:rPr>
              <a:t>usado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 e </a:t>
            </a:r>
            <a:r>
              <a:rPr lang="pt-BR" sz="1400" i="1" dirty="0" smtClean="0">
                <a:latin typeface="Arial" pitchFamily="34" charset="0"/>
                <a:cs typeface="Arial" pitchFamily="34" charset="0"/>
              </a:rPr>
              <a:t>exposto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 pelas </a:t>
            </a:r>
            <a:r>
              <a:rPr lang="pt-BR" sz="1400" b="1" dirty="0" smtClean="0">
                <a:latin typeface="Arial" pitchFamily="34" charset="0"/>
                <a:cs typeface="Arial" pitchFamily="34" charset="0"/>
              </a:rPr>
              <a:t>plataformas de integração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para fazer circular informações entre os diversos sistemas e/ou aplicações. </a:t>
            </a:r>
          </a:p>
          <a:p>
            <a:pPr marL="0" lvl="1" eaLnBrk="0" hangingPunct="0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marL="0" lvl="1" eaLnBrk="0" hangingPunct="0"/>
            <a:r>
              <a:rPr lang="pt-BR" sz="1400" dirty="0">
                <a:latin typeface="Arial" pitchFamily="34" charset="0"/>
                <a:cs typeface="Arial" pitchFamily="34" charset="0"/>
              </a:rPr>
              <a:t>O uso dum </a:t>
            </a:r>
            <a:r>
              <a:rPr lang="pt-BR" sz="1400" b="1" dirty="0">
                <a:latin typeface="Arial" pitchFamily="34" charset="0"/>
                <a:cs typeface="Arial" pitchFamily="34" charset="0"/>
              </a:rPr>
              <a:t>modelo canônico de integração</a:t>
            </a:r>
            <a:r>
              <a:rPr lang="pt-BR" sz="1400" dirty="0">
                <a:latin typeface="Arial" pitchFamily="34" charset="0"/>
                <a:cs typeface="Arial" pitchFamily="34" charset="0"/>
              </a:rPr>
              <a:t>, independente dos modelos dos sistemas, </a:t>
            </a:r>
            <a:r>
              <a:rPr lang="pt-PT" sz="1400" b="1" dirty="0">
                <a:latin typeface="Arial" pitchFamily="34" charset="0"/>
                <a:cs typeface="Arial" pitchFamily="34" charset="0"/>
              </a:rPr>
              <a:t>f</a:t>
            </a:r>
            <a:r>
              <a:rPr lang="pt-PT" altLang="pt-PT" sz="1400" b="1" dirty="0">
                <a:latin typeface="Arial" pitchFamily="34" charset="0"/>
                <a:cs typeface="Arial" pitchFamily="34" charset="0"/>
              </a:rPr>
              <a:t>acilita</a:t>
            </a:r>
            <a:r>
              <a:rPr lang="pt-PT" altLang="pt-PT" sz="1400" dirty="0">
                <a:latin typeface="Arial" pitchFamily="34" charset="0"/>
                <a:cs typeface="Arial" pitchFamily="34" charset="0"/>
              </a:rPr>
              <a:t> e </a:t>
            </a:r>
            <a:r>
              <a:rPr lang="pt-PT" altLang="pt-PT" sz="1400" b="1" dirty="0">
                <a:latin typeface="Arial" pitchFamily="34" charset="0"/>
                <a:cs typeface="Arial" pitchFamily="34" charset="0"/>
              </a:rPr>
              <a:t>simplifica</a:t>
            </a:r>
            <a:r>
              <a:rPr lang="pt-PT" altLang="pt-PT" sz="1400" dirty="0">
                <a:latin typeface="Arial" pitchFamily="34" charset="0"/>
                <a:cs typeface="Arial" pitchFamily="34" charset="0"/>
              </a:rPr>
              <a:t> a integração aplicacional</a:t>
            </a:r>
            <a:r>
              <a:rPr lang="pt-BR" sz="1400" dirty="0">
                <a:latin typeface="Arial" pitchFamily="34" charset="0"/>
                <a:cs typeface="Arial" pitchFamily="34" charset="0"/>
              </a:rPr>
              <a:t>,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p</a:t>
            </a:r>
            <a:r>
              <a:rPr lang="pt-BR" altLang="pt-PT" sz="1400" dirty="0" smtClean="0">
                <a:latin typeface="Arial" pitchFamily="34" charset="0"/>
                <a:cs typeface="Arial" pitchFamily="34" charset="0"/>
              </a:rPr>
              <a:t>ermitindo </a:t>
            </a:r>
            <a:r>
              <a:rPr lang="pt-BR" altLang="pt-PT" sz="1400" dirty="0">
                <a:latin typeface="Arial" pitchFamily="34" charset="0"/>
                <a:cs typeface="Arial" pitchFamily="34" charset="0"/>
              </a:rPr>
              <a:t>que </a:t>
            </a:r>
            <a:r>
              <a:rPr lang="pt-BR" altLang="pt-PT" sz="1400" dirty="0" smtClean="0">
                <a:latin typeface="Arial" pitchFamily="34" charset="0"/>
                <a:cs typeface="Arial" pitchFamily="34" charset="0"/>
              </a:rPr>
              <a:t>analistas de sistemas e </a:t>
            </a:r>
            <a:r>
              <a:rPr lang="pt-BR" altLang="pt-PT" sz="1400" dirty="0">
                <a:latin typeface="Arial" pitchFamily="34" charset="0"/>
                <a:cs typeface="Arial" pitchFamily="34" charset="0"/>
              </a:rPr>
              <a:t>usuários de negócios </a:t>
            </a:r>
            <a:r>
              <a:rPr lang="pt-BR" altLang="pt-PT" sz="1400" dirty="0" smtClean="0">
                <a:latin typeface="Arial" pitchFamily="34" charset="0"/>
                <a:cs typeface="Arial" pitchFamily="34" charset="0"/>
              </a:rPr>
              <a:t>discutam </a:t>
            </a:r>
            <a:r>
              <a:rPr lang="pt-BR" altLang="pt-PT" sz="1400" dirty="0">
                <a:latin typeface="Arial" pitchFamily="34" charset="0"/>
                <a:cs typeface="Arial" pitchFamily="34" charset="0"/>
              </a:rPr>
              <a:t>a solução de integração em termos </a:t>
            </a:r>
            <a:r>
              <a:rPr lang="pt-BR" altLang="pt-PT" sz="1400" dirty="0" smtClean="0">
                <a:latin typeface="Arial" pitchFamily="34" charset="0"/>
                <a:cs typeface="Arial" pitchFamily="34" charset="0"/>
              </a:rPr>
              <a:t>corporativos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.</a:t>
            </a:r>
            <a:endParaRPr lang="en-GB" sz="1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256" y="1396355"/>
            <a:ext cx="3166640" cy="3119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/>
              <a:t>Governança de Dados para Integração</a:t>
            </a:r>
          </a:p>
          <a:p>
            <a:pPr algn="l"/>
            <a:r>
              <a:rPr lang="pt-BR" b="0" i="1" dirty="0" smtClean="0"/>
              <a:t>Como utilizar o Modelo </a:t>
            </a:r>
            <a:r>
              <a:rPr lang="pt-BR" b="0" i="1" dirty="0" smtClean="0"/>
              <a:t>Canônico em Integração</a:t>
            </a:r>
            <a:endParaRPr lang="pt-BR" dirty="0"/>
          </a:p>
        </p:txBody>
      </p:sp>
      <p:sp>
        <p:nvSpPr>
          <p:cNvPr id="9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13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36204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srgbClr val="009AA6"/>
                </a:solidFill>
                <a:latin typeface="Arial"/>
                <a:cs typeface="Arial"/>
              </a:rPr>
              <a:t>Governança </a:t>
            </a:r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de Dados para Integração</a:t>
            </a:r>
          </a:p>
          <a:p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Vantagens dum Canônico</a:t>
            </a:r>
            <a:endParaRPr lang="pt-BR" i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19" name="Espaço Reservado para Conteúdo 3"/>
          <p:cNvSpPr txBox="1">
            <a:spLocks/>
          </p:cNvSpPr>
          <p:nvPr/>
        </p:nvSpPr>
        <p:spPr>
          <a:xfrm>
            <a:off x="432000" y="1131590"/>
            <a:ext cx="8146800" cy="738664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500" kern="1200" baseline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 </a:t>
            </a:r>
            <a:r>
              <a:rPr lang="pt-BR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o Canônico de Dados </a:t>
            </a:r>
            <a:r>
              <a:rPr lang="pt-PT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mite um entendimento </a:t>
            </a:r>
            <a:r>
              <a:rPr lang="pt-PT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um e partilhado</a:t>
            </a:r>
            <a:r>
              <a:rPr lang="pt-PT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tre o significado (semântica) e a representação (sintaxe) dos conceitos e/ou entidades trocados entre aplicações, permitindo o</a:t>
            </a:r>
            <a:r>
              <a:rPr lang="pt-PT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acoplamento da informação </a:t>
            </a:r>
            <a:r>
              <a:rPr lang="pt-PT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arquitetura de serviços</a:t>
            </a:r>
            <a:r>
              <a:rPr lang="pt-BR" dirty="0" smtClean="0">
                <a:solidFill>
                  <a:schemeClr val="tx1"/>
                </a:solidFill>
              </a:rPr>
              <a:t>.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0" name="Espaço Reservado para Conteúdo 3"/>
          <p:cNvSpPr txBox="1">
            <a:spLocks/>
          </p:cNvSpPr>
          <p:nvPr/>
        </p:nvSpPr>
        <p:spPr>
          <a:xfrm>
            <a:off x="3707904" y="1925648"/>
            <a:ext cx="5184576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pt-BR" dirty="0" smtClean="0"/>
              <a:t>No padrão mais básico de integração existe a transmissão de </a:t>
            </a:r>
            <a:r>
              <a:rPr lang="pt-BR" b="1" dirty="0" smtClean="0"/>
              <a:t>mensagens</a:t>
            </a:r>
            <a:r>
              <a:rPr lang="pt-BR" dirty="0" smtClean="0"/>
              <a:t>, (i.e. </a:t>
            </a:r>
            <a:r>
              <a:rPr lang="pt-BR" b="1" dirty="0" smtClean="0"/>
              <a:t>dados estruturados </a:t>
            </a:r>
            <a:r>
              <a:rPr lang="pt-BR" dirty="0" smtClean="0"/>
              <a:t>que devem ser desenhados);</a:t>
            </a:r>
          </a:p>
          <a:p>
            <a:pPr>
              <a:spcBef>
                <a:spcPts val="0"/>
              </a:spcBef>
            </a:pPr>
            <a:endParaRPr lang="pt-BR" sz="800" dirty="0" smtClean="0"/>
          </a:p>
          <a:p>
            <a:pPr>
              <a:spcBef>
                <a:spcPts val="0"/>
              </a:spcBef>
            </a:pPr>
            <a:r>
              <a:rPr lang="pt-BR" dirty="0" smtClean="0"/>
              <a:t>Uma </a:t>
            </a:r>
            <a:r>
              <a:rPr lang="pt-BR" dirty="0"/>
              <a:t>arquitetura de dados mal desenhada é a forma mais comum para causar um </a:t>
            </a:r>
            <a:r>
              <a:rPr lang="pt-BR" b="1" dirty="0"/>
              <a:t>acoplamento entre os sistemas</a:t>
            </a:r>
            <a:r>
              <a:rPr lang="pt-BR" dirty="0"/>
              <a:t>. </a:t>
            </a:r>
            <a:r>
              <a:rPr lang="pt-BR" dirty="0" smtClean="0"/>
              <a:t>Não é a ferramenta ou a abordagem de integração (e.g. SOA, ETL) que permite o </a:t>
            </a:r>
            <a:r>
              <a:rPr lang="pt-BR" b="1" dirty="0" smtClean="0"/>
              <a:t>desacoplamento de sistemas</a:t>
            </a:r>
            <a:r>
              <a:rPr lang="pt-BR" dirty="0" smtClean="0"/>
              <a:t>.</a:t>
            </a:r>
          </a:p>
          <a:p>
            <a:pPr>
              <a:spcBef>
                <a:spcPts val="0"/>
              </a:spcBef>
            </a:pPr>
            <a:endParaRPr lang="pt-BR" sz="800" dirty="0" smtClean="0"/>
          </a:p>
          <a:p>
            <a:pPr>
              <a:spcBef>
                <a:spcPts val="0"/>
              </a:spcBef>
            </a:pPr>
            <a:r>
              <a:rPr lang="pt-BR" dirty="0" smtClean="0"/>
              <a:t>O </a:t>
            </a:r>
            <a:r>
              <a:rPr lang="pt-BR" dirty="0"/>
              <a:t>uso dum </a:t>
            </a:r>
            <a:r>
              <a:rPr lang="pt-BR" b="1" dirty="0"/>
              <a:t>M</a:t>
            </a:r>
            <a:r>
              <a:rPr lang="pt-BR" b="1" dirty="0" smtClean="0"/>
              <a:t>odelo </a:t>
            </a:r>
            <a:r>
              <a:rPr lang="pt-BR" b="1" dirty="0"/>
              <a:t>C</a:t>
            </a:r>
            <a:r>
              <a:rPr lang="pt-BR" b="1" dirty="0" smtClean="0"/>
              <a:t>anônico </a:t>
            </a:r>
            <a:r>
              <a:rPr lang="pt-BR" b="1" dirty="0"/>
              <a:t>de </a:t>
            </a:r>
            <a:r>
              <a:rPr lang="pt-BR" b="1" dirty="0" smtClean="0"/>
              <a:t>Integração</a:t>
            </a:r>
            <a:r>
              <a:rPr lang="pt-BR" dirty="0"/>
              <a:t>, </a:t>
            </a:r>
            <a:r>
              <a:rPr lang="pt-BR" i="1" dirty="0"/>
              <a:t>independente</a:t>
            </a:r>
            <a:r>
              <a:rPr lang="pt-BR" dirty="0"/>
              <a:t> dos modelos </a:t>
            </a:r>
            <a:r>
              <a:rPr lang="pt-BR" dirty="0" smtClean="0"/>
              <a:t>dos </a:t>
            </a:r>
            <a:r>
              <a:rPr lang="pt-BR" dirty="0"/>
              <a:t>sistemas, permite que se altere o modelo interno de dados dum sistema sem que se impacte a forma como este comunica com o mundo </a:t>
            </a:r>
            <a:r>
              <a:rPr lang="pt-BR" dirty="0" smtClean="0"/>
              <a:t>exterior, </a:t>
            </a:r>
            <a:r>
              <a:rPr lang="pt-BR" dirty="0"/>
              <a:t>uma permissa base para o </a:t>
            </a:r>
            <a:r>
              <a:rPr lang="pt-BR" b="1" dirty="0"/>
              <a:t>desacoplamento de sistemas</a:t>
            </a:r>
            <a:r>
              <a:rPr lang="pt-BR" b="1" dirty="0" smtClean="0"/>
              <a:t>.</a:t>
            </a:r>
            <a:endParaRPr lang="en-GB" dirty="0"/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732" y="2055725"/>
            <a:ext cx="2318084" cy="876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537" y="3291830"/>
            <a:ext cx="1068119" cy="100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2961352"/>
            <a:ext cx="1898327" cy="1957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10422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/>
              <a:t>Governança de Dados para Integração</a:t>
            </a:r>
          </a:p>
          <a:p>
            <a:pPr algn="l"/>
            <a:r>
              <a:rPr lang="pt-BR" b="0" i="1" dirty="0" smtClean="0"/>
              <a:t>Reference Data (ou Domínios)</a:t>
            </a:r>
            <a:endParaRPr lang="pt-BR" b="0" i="1" dirty="0"/>
          </a:p>
        </p:txBody>
      </p:sp>
      <p:sp>
        <p:nvSpPr>
          <p:cNvPr id="14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15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5" name="Diagram 4"/>
          <p:cNvGraphicFramePr/>
          <p:nvPr>
            <p:extLst>
              <p:ext uri="{D42A27DB-BD31-4B8C-83A1-F6EECF244321}">
                <p14:modId xmlns:p14="http://schemas.microsoft.com/office/powerpoint/2010/main" val="347094595"/>
              </p:ext>
            </p:extLst>
          </p:nvPr>
        </p:nvGraphicFramePr>
        <p:xfrm>
          <a:off x="3816424" y="1131590"/>
          <a:ext cx="4139952" cy="34378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6" name="TextBox 3"/>
          <p:cNvSpPr txBox="1"/>
          <p:nvPr/>
        </p:nvSpPr>
        <p:spPr>
          <a:xfrm>
            <a:off x="415773" y="1304754"/>
            <a:ext cx="4073737" cy="3453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pt-BR" sz="1400" b="1" dirty="0" smtClean="0">
                <a:latin typeface="Arial"/>
                <a:cs typeface="Arial"/>
              </a:rPr>
              <a:t>Dados de Referência</a:t>
            </a:r>
            <a:r>
              <a:rPr lang="pt-BR" sz="1400" dirty="0" smtClean="0">
                <a:latin typeface="Arial"/>
                <a:cs typeface="Arial"/>
              </a:rPr>
              <a:t>, ou </a:t>
            </a:r>
            <a:r>
              <a:rPr lang="pt-BR" sz="1400" i="1" dirty="0" smtClean="0">
                <a:latin typeface="Arial"/>
                <a:cs typeface="Arial"/>
              </a:rPr>
              <a:t>“Reference Data” </a:t>
            </a:r>
            <a:r>
              <a:rPr lang="pt-BR" sz="1400" dirty="0" smtClean="0">
                <a:latin typeface="Arial"/>
                <a:cs typeface="Arial"/>
              </a:rPr>
              <a:t>são dados que ajudam a </a:t>
            </a:r>
            <a:r>
              <a:rPr lang="pt-BR" sz="1400" b="1" dirty="0" smtClean="0">
                <a:latin typeface="Arial"/>
                <a:cs typeface="Arial"/>
              </a:rPr>
              <a:t>categorizar</a:t>
            </a:r>
            <a:r>
              <a:rPr lang="pt-BR" sz="1400" dirty="0" smtClean="0">
                <a:latin typeface="Arial"/>
                <a:cs typeface="Arial"/>
              </a:rPr>
              <a:t> outros dados ou </a:t>
            </a:r>
            <a:r>
              <a:rPr lang="pt-BR" sz="1400" b="1" dirty="0" smtClean="0">
                <a:latin typeface="Arial"/>
                <a:cs typeface="Arial"/>
              </a:rPr>
              <a:t>entidades de negócio </a:t>
            </a:r>
            <a:r>
              <a:rPr lang="pt-BR" sz="1400" dirty="0" smtClean="0">
                <a:latin typeface="Arial"/>
                <a:cs typeface="Arial"/>
              </a:rPr>
              <a:t>numa aplicação ou base de dados;</a:t>
            </a:r>
            <a:endParaRPr lang="pt-BR" sz="1400" dirty="0">
              <a:latin typeface="Arial"/>
              <a:cs typeface="Arial"/>
            </a:endParaRPr>
          </a:p>
          <a:p>
            <a:pPr marL="285750" indent="-285750">
              <a:lnSpc>
                <a:spcPct val="120000"/>
              </a:lnSpc>
              <a:buFont typeface="Arial" pitchFamily="34" charset="0"/>
              <a:buChar char="•"/>
            </a:pPr>
            <a:r>
              <a:rPr lang="pt-BR" sz="1400" dirty="0" smtClean="0">
                <a:latin typeface="Arial"/>
                <a:cs typeface="Arial"/>
              </a:rPr>
              <a:t>Podem também materializar regras de negócio;</a:t>
            </a:r>
          </a:p>
          <a:p>
            <a:pPr marL="285750" indent="-285750">
              <a:lnSpc>
                <a:spcPct val="120000"/>
              </a:lnSpc>
              <a:buFont typeface="Arial" pitchFamily="34" charset="0"/>
              <a:buChar char="•"/>
            </a:pPr>
            <a:r>
              <a:rPr lang="pt-BR" sz="1400" dirty="0">
                <a:latin typeface="Arial"/>
                <a:cs typeface="Arial"/>
              </a:rPr>
              <a:t>São o que chamamos normalmente por domínios, lista de valores ou tabelas de </a:t>
            </a:r>
            <a:r>
              <a:rPr lang="pt-BR" sz="1400" i="1" dirty="0">
                <a:latin typeface="Arial"/>
                <a:cs typeface="Arial"/>
              </a:rPr>
              <a:t>“</a:t>
            </a:r>
            <a:r>
              <a:rPr lang="pt-BR" sz="1400" i="1" dirty="0" err="1">
                <a:latin typeface="Arial"/>
                <a:cs typeface="Arial"/>
              </a:rPr>
              <a:t>lookup</a:t>
            </a:r>
            <a:r>
              <a:rPr lang="pt-BR" sz="1400" dirty="0">
                <a:latin typeface="Arial"/>
                <a:cs typeface="Arial"/>
              </a:rPr>
              <a:t>”;</a:t>
            </a:r>
          </a:p>
          <a:p>
            <a:pPr marL="285750" indent="-285750">
              <a:lnSpc>
                <a:spcPct val="120000"/>
              </a:lnSpc>
              <a:buFont typeface="Arial" pitchFamily="34" charset="0"/>
              <a:buChar char="•"/>
            </a:pPr>
            <a:r>
              <a:rPr lang="pt-BR" sz="1400" dirty="0" smtClean="0">
                <a:latin typeface="Arial"/>
                <a:cs typeface="Arial"/>
              </a:rPr>
              <a:t>Diferente de Dados </a:t>
            </a:r>
            <a:r>
              <a:rPr lang="pt-BR" sz="1400" b="1" dirty="0" smtClean="0">
                <a:latin typeface="Arial"/>
                <a:cs typeface="Arial"/>
              </a:rPr>
              <a:t>Transacionais</a:t>
            </a:r>
            <a:r>
              <a:rPr lang="pt-BR" sz="1400" dirty="0" smtClean="0">
                <a:latin typeface="Arial"/>
                <a:cs typeface="Arial"/>
              </a:rPr>
              <a:t> (que representam dados criados por transações numa aplicação) ou Dados </a:t>
            </a:r>
            <a:r>
              <a:rPr lang="pt-BR" sz="1400" b="1" dirty="0" smtClean="0">
                <a:latin typeface="Arial"/>
                <a:cs typeface="Arial"/>
              </a:rPr>
              <a:t>Mestre</a:t>
            </a:r>
            <a:r>
              <a:rPr lang="pt-BR" sz="1400" dirty="0" smtClean="0">
                <a:latin typeface="Arial"/>
                <a:cs typeface="Arial"/>
              </a:rPr>
              <a:t> (que representam as entidades de negócio )</a:t>
            </a:r>
            <a:endParaRPr lang="pt-BR" sz="1400" dirty="0">
              <a:latin typeface="Arial"/>
              <a:cs typeface="Arial"/>
            </a:endParaRPr>
          </a:p>
        </p:txBody>
      </p:sp>
      <p:cxnSp>
        <p:nvCxnSpPr>
          <p:cNvPr id="17" name="Straight Connector 2"/>
          <p:cNvCxnSpPr/>
          <p:nvPr/>
        </p:nvCxnSpPr>
        <p:spPr bwMode="auto">
          <a:xfrm>
            <a:off x="5351410" y="3796047"/>
            <a:ext cx="1460665" cy="0"/>
          </a:xfrm>
          <a:prstGeom prst="line">
            <a:avLst/>
          </a:prstGeom>
          <a:solidFill>
            <a:srgbClr val="00559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Rectangle 8"/>
          <p:cNvSpPr/>
          <p:nvPr/>
        </p:nvSpPr>
        <p:spPr>
          <a:xfrm>
            <a:off x="7812360" y="1606029"/>
            <a:ext cx="13316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Bilhete de Defeito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Ordem</a:t>
            </a:r>
            <a:r>
              <a:rPr kumimoji="0" lang="pt-BR" sz="1200" b="1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 de Serviço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cxnSp>
        <p:nvCxnSpPr>
          <p:cNvPr id="19" name="Straight Connector 13"/>
          <p:cNvCxnSpPr/>
          <p:nvPr/>
        </p:nvCxnSpPr>
        <p:spPr bwMode="auto">
          <a:xfrm flipH="1">
            <a:off x="7871832" y="1491630"/>
            <a:ext cx="1060644" cy="0"/>
          </a:xfrm>
          <a:prstGeom prst="line">
            <a:avLst/>
          </a:prstGeom>
          <a:solidFill>
            <a:srgbClr val="005595"/>
          </a:solidFill>
          <a:ln w="19050" cap="flat" cmpd="sng" algn="ctr">
            <a:solidFill>
              <a:srgbClr val="80828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26"/>
          <p:cNvCxnSpPr/>
          <p:nvPr/>
        </p:nvCxnSpPr>
        <p:spPr bwMode="auto">
          <a:xfrm flipH="1">
            <a:off x="7453124" y="2211710"/>
            <a:ext cx="1479352" cy="0"/>
          </a:xfrm>
          <a:prstGeom prst="line">
            <a:avLst/>
          </a:prstGeom>
          <a:solidFill>
            <a:srgbClr val="005595"/>
          </a:solidFill>
          <a:ln w="19050" cap="flat" cmpd="sng" algn="ctr">
            <a:solidFill>
              <a:srgbClr val="80828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8"/>
          <p:cNvCxnSpPr/>
          <p:nvPr/>
        </p:nvCxnSpPr>
        <p:spPr bwMode="auto">
          <a:xfrm flipH="1">
            <a:off x="7013959" y="2923010"/>
            <a:ext cx="1918517" cy="0"/>
          </a:xfrm>
          <a:prstGeom prst="line">
            <a:avLst/>
          </a:prstGeom>
          <a:solidFill>
            <a:srgbClr val="005595"/>
          </a:solidFill>
          <a:ln w="19050" cap="flat" cmpd="sng" algn="ctr">
            <a:solidFill>
              <a:srgbClr val="80828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30"/>
          <p:cNvCxnSpPr/>
          <p:nvPr/>
        </p:nvCxnSpPr>
        <p:spPr bwMode="auto">
          <a:xfrm flipH="1">
            <a:off x="6661594" y="3651870"/>
            <a:ext cx="2393289" cy="0"/>
          </a:xfrm>
          <a:prstGeom prst="line">
            <a:avLst/>
          </a:prstGeom>
          <a:solidFill>
            <a:srgbClr val="005595"/>
          </a:solidFill>
          <a:ln w="19050" cap="flat" cmpd="sng" algn="ctr">
            <a:solidFill>
              <a:srgbClr val="80828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Rectangle 8"/>
          <p:cNvSpPr/>
          <p:nvPr/>
        </p:nvSpPr>
        <p:spPr>
          <a:xfrm>
            <a:off x="6985580" y="3669119"/>
            <a:ext cx="15468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Status</a:t>
            </a:r>
            <a:r>
              <a:rPr kumimoji="0" lang="pt-BR" sz="1200" b="1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 de Cliente</a:t>
            </a: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baseline="0" dirty="0" smtClean="0"/>
              <a:t>Tipo de Serviço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Centros de Custo</a:t>
            </a: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Códigos de Países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4" name="Rectangle 8"/>
          <p:cNvSpPr/>
          <p:nvPr/>
        </p:nvSpPr>
        <p:spPr>
          <a:xfrm>
            <a:off x="7201604" y="2931790"/>
            <a:ext cx="15468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Cliente</a:t>
            </a: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Recurso</a:t>
            </a: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Produto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5" name="Rectangle 8"/>
          <p:cNvSpPr/>
          <p:nvPr/>
        </p:nvSpPr>
        <p:spPr>
          <a:xfrm>
            <a:off x="7380312" y="2212458"/>
            <a:ext cx="17628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Oferta de Produto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Campanha</a:t>
            </a: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Hierarquia de Produto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8756279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3876051"/>
              </p:ext>
            </p:extLst>
          </p:nvPr>
        </p:nvGraphicFramePr>
        <p:xfrm>
          <a:off x="504556" y="1347614"/>
          <a:ext cx="8073252" cy="3241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6626"/>
                <a:gridCol w="4036626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Reference Data (Dados de Referência)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Master Data (Dados Mestre)</a:t>
                      </a:r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tegoriza outros dados. Valores de referência qualificam e/ou classificam dados Mestre ou Transacionais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presenta a entidades de negócio que participam nas transações de negócio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m conjunto de valores pré-definidos permitidos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nhum conjunto de valores pré-definidos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ão são alterados pelas transações ou processos aplicativos que os usam. Utilizados em modo leitura.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dem ser criados  e alterados dentro das aplicações de negócio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dos relativamente estáticos ou que mudam muito raramente.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ão alterados frequentemente pois representam entidades que  evoluem naturalmente com os processos de negócio.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trutura de dados relativamente “flat” e normalmente não inclui muitos atributos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rmalmente estrutura de dados complexa com muitos atributos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16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/>
              <a:t>Governança de Dados para Integração</a:t>
            </a:r>
          </a:p>
          <a:p>
            <a:pPr algn="l"/>
            <a:r>
              <a:rPr lang="pt-BR" b="0" i="1" dirty="0" smtClean="0"/>
              <a:t>Dados </a:t>
            </a:r>
            <a:r>
              <a:rPr lang="pt-BR" b="0" i="1" dirty="0"/>
              <a:t>de Referência </a:t>
            </a:r>
            <a:r>
              <a:rPr lang="pt-BR" i="1" dirty="0"/>
              <a:t>não são </a:t>
            </a:r>
            <a:r>
              <a:rPr lang="pt-BR" b="0" i="1" dirty="0"/>
              <a:t>Dados Mestre (ou Master Data)</a:t>
            </a:r>
            <a:endParaRPr lang="en-US" b="0" i="1" dirty="0"/>
          </a:p>
          <a:p>
            <a:pPr algn="l"/>
            <a:endParaRPr lang="pt-BR" b="0" i="1" dirty="0"/>
          </a:p>
        </p:txBody>
      </p:sp>
    </p:spTree>
    <p:extLst>
      <p:ext uri="{BB962C8B-B14F-4D97-AF65-F5344CB8AC3E}">
        <p14:creationId xmlns:p14="http://schemas.microsoft.com/office/powerpoint/2010/main" val="675819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de cantos arredondados 5"/>
          <p:cNvSpPr/>
          <p:nvPr/>
        </p:nvSpPr>
        <p:spPr>
          <a:xfrm>
            <a:off x="323528" y="1225083"/>
            <a:ext cx="4608512" cy="1880919"/>
          </a:xfrm>
          <a:prstGeom prst="round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TextBox 3"/>
          <p:cNvSpPr txBox="1"/>
          <p:nvPr/>
        </p:nvSpPr>
        <p:spPr>
          <a:xfrm>
            <a:off x="467544" y="1661077"/>
            <a:ext cx="400720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pt-BR" sz="1400" dirty="0" smtClean="0">
                <a:latin typeface="Arial"/>
                <a:cs typeface="Arial"/>
              </a:rPr>
              <a:t>Dados </a:t>
            </a:r>
            <a:r>
              <a:rPr lang="pt-BR" sz="1400" dirty="0">
                <a:latin typeface="Arial"/>
                <a:cs typeface="Arial"/>
              </a:rPr>
              <a:t>de categorização utilizados em vários domínios funcionais (verticais) ou vários processos de negócio (horizontais</a:t>
            </a:r>
            <a:r>
              <a:rPr lang="pt-BR" sz="1400" dirty="0" smtClean="0">
                <a:latin typeface="Arial"/>
                <a:cs typeface="Arial"/>
              </a:rPr>
              <a:t>); Pode ser necessário mapeamentos durante processos de Integração de Dados (online ou batch)</a:t>
            </a:r>
            <a:endParaRPr lang="pt-BR" sz="1400" dirty="0">
              <a:latin typeface="Arial"/>
              <a:cs typeface="Arial"/>
            </a:endParaRPr>
          </a:p>
        </p:txBody>
      </p:sp>
      <p:sp>
        <p:nvSpPr>
          <p:cNvPr id="10" name="Rectangle 2"/>
          <p:cNvSpPr/>
          <p:nvPr/>
        </p:nvSpPr>
        <p:spPr>
          <a:xfrm>
            <a:off x="467544" y="1288380"/>
            <a:ext cx="40366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009AA6"/>
                </a:solidFill>
                <a:latin typeface="Arial"/>
                <a:cs typeface="Arial"/>
              </a:rPr>
              <a:t>Reference Data </a:t>
            </a:r>
            <a:r>
              <a:rPr lang="pt-BR" sz="1600" b="1" i="1" dirty="0">
                <a:solidFill>
                  <a:srgbClr val="009AA6"/>
                </a:solidFill>
                <a:latin typeface="Arial"/>
                <a:cs typeface="Arial"/>
              </a:rPr>
              <a:t>Transversal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4704" y="1215588"/>
            <a:ext cx="2997696" cy="3732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3"/>
          <p:cNvSpPr txBox="1"/>
          <p:nvPr/>
        </p:nvSpPr>
        <p:spPr>
          <a:xfrm>
            <a:off x="467544" y="3830028"/>
            <a:ext cx="4007206" cy="8441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pt-BR" sz="1400" dirty="0">
                <a:latin typeface="Arial"/>
                <a:cs typeface="Arial"/>
              </a:rPr>
              <a:t>Dados de categorização circunscritos a um domínio Aplicacional e </a:t>
            </a:r>
            <a:r>
              <a:rPr lang="pt-BR" sz="1400" dirty="0" smtClean="0">
                <a:latin typeface="Arial"/>
                <a:cs typeface="Arial"/>
              </a:rPr>
              <a:t>com impacto </a:t>
            </a:r>
            <a:r>
              <a:rPr lang="pt-BR" sz="1400" dirty="0">
                <a:latin typeface="Arial"/>
                <a:cs typeface="Arial"/>
              </a:rPr>
              <a:t>restrito ao nível de outras </a:t>
            </a:r>
            <a:r>
              <a:rPr lang="pt-BR" sz="1400" dirty="0" smtClean="0">
                <a:latin typeface="Arial"/>
                <a:cs typeface="Arial"/>
              </a:rPr>
              <a:t>aplicações;</a:t>
            </a:r>
            <a:endParaRPr lang="pt-BR" sz="1400" dirty="0">
              <a:latin typeface="Arial"/>
              <a:cs typeface="Arial"/>
            </a:endParaRPr>
          </a:p>
        </p:txBody>
      </p:sp>
      <p:sp>
        <p:nvSpPr>
          <p:cNvPr id="12" name="Rectangle 2"/>
          <p:cNvSpPr/>
          <p:nvPr/>
        </p:nvSpPr>
        <p:spPr>
          <a:xfrm>
            <a:off x="467544" y="3457331"/>
            <a:ext cx="40366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009AA6"/>
                </a:solidFill>
                <a:latin typeface="Arial"/>
                <a:cs typeface="Arial"/>
              </a:rPr>
              <a:t>Reference Data </a:t>
            </a:r>
            <a:r>
              <a:rPr lang="pt-BR" sz="1600" b="1" i="1" dirty="0">
                <a:solidFill>
                  <a:srgbClr val="009AA6"/>
                </a:solidFill>
                <a:latin typeface="Arial"/>
                <a:cs typeface="Arial"/>
              </a:rPr>
              <a:t>Aplicacional</a:t>
            </a:r>
          </a:p>
        </p:txBody>
      </p:sp>
      <p:sp>
        <p:nvSpPr>
          <p:cNvPr id="7" name="CaixaDeTexto 6"/>
          <p:cNvSpPr txBox="1"/>
          <p:nvPr/>
        </p:nvSpPr>
        <p:spPr>
          <a:xfrm rot="16200000">
            <a:off x="3742153" y="1835396"/>
            <a:ext cx="17949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009AA6"/>
                </a:solidFill>
                <a:latin typeface="Arial"/>
                <a:cs typeface="Arial"/>
              </a:rPr>
              <a:t>Escopo</a:t>
            </a:r>
            <a:r>
              <a:rPr lang="pt-BR" sz="16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 </a:t>
            </a:r>
            <a:r>
              <a:rPr lang="pt-BR" sz="1600" b="1" dirty="0">
                <a:solidFill>
                  <a:srgbClr val="009AA6"/>
                </a:solidFill>
                <a:latin typeface="Arial"/>
                <a:cs typeface="Arial"/>
              </a:rPr>
              <a:t>de</a:t>
            </a:r>
            <a:r>
              <a:rPr lang="pt-BR" sz="16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 </a:t>
            </a:r>
            <a:r>
              <a:rPr lang="pt-BR" sz="1600" b="1" dirty="0">
                <a:solidFill>
                  <a:srgbClr val="009AA6"/>
                </a:solidFill>
                <a:latin typeface="Arial"/>
                <a:cs typeface="Arial"/>
              </a:rPr>
              <a:t>Interesse</a:t>
            </a:r>
          </a:p>
        </p:txBody>
      </p:sp>
      <p:sp>
        <p:nvSpPr>
          <p:cNvPr id="14" name="Rectangle 2"/>
          <p:cNvSpPr/>
          <p:nvPr/>
        </p:nvSpPr>
        <p:spPr>
          <a:xfrm>
            <a:off x="323528" y="3118777"/>
            <a:ext cx="40366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>
                <a:solidFill>
                  <a:schemeClr val="tx2"/>
                </a:solidFill>
                <a:latin typeface="Arial"/>
                <a:cs typeface="Arial"/>
              </a:rPr>
              <a:t>Master de Reference Data</a:t>
            </a:r>
            <a:endParaRPr lang="pt-BR" sz="1600" b="1" i="1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5" name="Rectangle 2"/>
          <p:cNvSpPr/>
          <p:nvPr/>
        </p:nvSpPr>
        <p:spPr>
          <a:xfrm>
            <a:off x="391327" y="4681467"/>
            <a:ext cx="40366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>
                <a:solidFill>
                  <a:schemeClr val="tx2"/>
                </a:solidFill>
                <a:latin typeface="Arial"/>
                <a:cs typeface="Arial"/>
              </a:rPr>
              <a:t>Aplicação</a:t>
            </a:r>
            <a:endParaRPr lang="pt-BR" sz="1600" b="1" i="1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6" name="Rectangle 2"/>
          <p:cNvSpPr/>
          <p:nvPr/>
        </p:nvSpPr>
        <p:spPr>
          <a:xfrm>
            <a:off x="353953" y="958537"/>
            <a:ext cx="40366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>
                <a:solidFill>
                  <a:schemeClr val="tx2"/>
                </a:solidFill>
                <a:latin typeface="Arial"/>
                <a:cs typeface="Arial"/>
              </a:rPr>
              <a:t>Responsabilidade de Gestão</a:t>
            </a:r>
            <a:endParaRPr lang="pt-BR" sz="1600" b="1" i="1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7" name="Retângulo de cantos arredondados 16"/>
          <p:cNvSpPr/>
          <p:nvPr/>
        </p:nvSpPr>
        <p:spPr>
          <a:xfrm>
            <a:off x="179512" y="1230284"/>
            <a:ext cx="4824536" cy="2227047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Retângulo de cantos arredondados 17"/>
          <p:cNvSpPr/>
          <p:nvPr/>
        </p:nvSpPr>
        <p:spPr>
          <a:xfrm>
            <a:off x="179512" y="3457332"/>
            <a:ext cx="4824536" cy="1562690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/>
              <a:t>Governança de Dados para </a:t>
            </a:r>
            <a:r>
              <a:rPr lang="pt-BR" dirty="0" smtClean="0"/>
              <a:t>Integração</a:t>
            </a:r>
          </a:p>
          <a:p>
            <a:pPr algn="l"/>
            <a:r>
              <a:rPr lang="pt-BR" b="0" i="1" dirty="0" smtClean="0"/>
              <a:t>Dados de Referência Transversais versus Aplicacionais</a:t>
            </a:r>
            <a:endParaRPr lang="pt-BR" b="0" i="1" dirty="0"/>
          </a:p>
          <a:p>
            <a:pPr algn="l"/>
            <a:endParaRPr lang="pt-BR" b="0" i="1" dirty="0"/>
          </a:p>
        </p:txBody>
      </p:sp>
      <p:sp>
        <p:nvSpPr>
          <p:cNvPr id="20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17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88545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14" grpId="0"/>
      <p:bldP spid="15" grpId="0"/>
      <p:bldP spid="16" grpId="0"/>
      <p:bldP spid="17" grpId="0" animBg="1"/>
      <p:bldP spid="18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/>
          <p:cNvSpPr>
            <a:spLocks noGrp="1"/>
          </p:cNvSpPr>
          <p:nvPr>
            <p:ph type="body" sz="quarter" idx="10"/>
          </p:nvPr>
        </p:nvSpPr>
        <p:spPr>
          <a:xfrm>
            <a:off x="824400" y="3402000"/>
            <a:ext cx="6843944" cy="954000"/>
          </a:xfrm>
        </p:spPr>
        <p:txBody>
          <a:bodyPr/>
          <a:lstStyle/>
          <a:p>
            <a:r>
              <a:rPr lang="pt-BR" dirty="0" smtClean="0"/>
              <a:t>Implementando o Modelo Canônic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61370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PT" dirty="0" smtClean="0"/>
              <a:t>Implementando o Modelo Canônico</a:t>
            </a:r>
            <a:r>
              <a:rPr lang="pt-PT" dirty="0"/>
              <a:t/>
            </a:r>
            <a:br>
              <a:rPr lang="pt-PT" dirty="0"/>
            </a:br>
            <a:r>
              <a:rPr lang="pt-BR" b="0" i="1" dirty="0" smtClean="0"/>
              <a:t>Governança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>
                <a:solidFill>
                  <a:prstClr val="black">
                    <a:tint val="75000"/>
                  </a:prstClr>
                </a:solidFill>
              </a:rPr>
              <a:t> |   MATERIAL CONFIDENCIAL   |   PÁGINA </a:t>
            </a:r>
            <a:fld id="{7F303BA8-C97C-4F5B-B9D3-CDD17C3693B6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131590"/>
            <a:ext cx="8146800" cy="954107"/>
          </a:xfrm>
        </p:spPr>
        <p:txBody>
          <a:bodyPr/>
          <a:lstStyle/>
          <a:p>
            <a:r>
              <a:rPr lang="pt-BR" dirty="0" smtClean="0"/>
              <a:t>A Governança de </a:t>
            </a:r>
            <a:r>
              <a:rPr lang="pt-BR" b="1" dirty="0" smtClean="0"/>
              <a:t>Informação</a:t>
            </a:r>
            <a:r>
              <a:rPr lang="pt-BR" dirty="0" smtClean="0"/>
              <a:t> (ou de Dados) </a:t>
            </a:r>
            <a:r>
              <a:rPr lang="pt-BR" dirty="0"/>
              <a:t>é um conjunto de </a:t>
            </a:r>
            <a:r>
              <a:rPr lang="pt-BR" b="1" dirty="0"/>
              <a:t>processos</a:t>
            </a:r>
            <a:r>
              <a:rPr lang="pt-BR" dirty="0"/>
              <a:t>, </a:t>
            </a:r>
            <a:r>
              <a:rPr lang="pt-BR" b="1" dirty="0"/>
              <a:t>políticas</a:t>
            </a:r>
            <a:r>
              <a:rPr lang="pt-BR" dirty="0"/>
              <a:t> e </a:t>
            </a:r>
            <a:r>
              <a:rPr lang="pt-BR" b="1" dirty="0" smtClean="0"/>
              <a:t>procedimentos</a:t>
            </a:r>
            <a:r>
              <a:rPr lang="pt-BR" dirty="0" smtClean="0"/>
              <a:t>, definidas em conjunto com o negócio e o TI, que se propõe a garantir o alinhamento da</a:t>
            </a:r>
            <a:r>
              <a:rPr lang="pt-BR" b="1" dirty="0" smtClean="0"/>
              <a:t> informação </a:t>
            </a:r>
            <a:r>
              <a:rPr lang="pt-BR" dirty="0" smtClean="0"/>
              <a:t>gerida em </a:t>
            </a:r>
            <a:r>
              <a:rPr lang="pt-BR" b="1" dirty="0" smtClean="0"/>
              <a:t>aplicações</a:t>
            </a:r>
            <a:r>
              <a:rPr lang="pt-BR" dirty="0" smtClean="0"/>
              <a:t> com a estratégia de TI da organização. Ela  necessita do envolvimento tanto da Governança de TI como da do Negócio.</a:t>
            </a:r>
            <a:endParaRPr lang="pt-BR" dirty="0"/>
          </a:p>
        </p:txBody>
      </p:sp>
      <p:sp>
        <p:nvSpPr>
          <p:cNvPr id="7" name="Espaço Reservado para Conteúdo 3"/>
          <p:cNvSpPr txBox="1">
            <a:spLocks/>
          </p:cNvSpPr>
          <p:nvPr/>
        </p:nvSpPr>
        <p:spPr>
          <a:xfrm>
            <a:off x="3995936" y="2241439"/>
            <a:ext cx="4582914" cy="25914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dirty="0">
                <a:solidFill>
                  <a:prstClr val="black"/>
                </a:solidFill>
              </a:rPr>
              <a:t>Uma Governança efetiva dos </a:t>
            </a:r>
            <a:r>
              <a:rPr b="1" dirty="0">
                <a:solidFill>
                  <a:prstClr val="black"/>
                </a:solidFill>
              </a:rPr>
              <a:t>dados</a:t>
            </a:r>
            <a:r>
              <a:rPr dirty="0">
                <a:solidFill>
                  <a:prstClr val="black"/>
                </a:solidFill>
              </a:rPr>
              <a:t> e da </a:t>
            </a:r>
            <a:r>
              <a:rPr b="1" dirty="0">
                <a:solidFill>
                  <a:prstClr val="black"/>
                </a:solidFill>
              </a:rPr>
              <a:t>informação</a:t>
            </a:r>
            <a:r>
              <a:rPr dirty="0">
                <a:solidFill>
                  <a:prstClr val="black"/>
                </a:solidFill>
              </a:rPr>
              <a:t> é crucial para atingir os benefícios duma arquitetura de TI que esteja alinhada com os objetivos do negócio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dirty="0">
                <a:solidFill>
                  <a:prstClr val="black"/>
                </a:solidFill>
              </a:rPr>
              <a:t>Um </a:t>
            </a:r>
            <a:r>
              <a:rPr b="1" dirty="0">
                <a:solidFill>
                  <a:prstClr val="black"/>
                </a:solidFill>
              </a:rPr>
              <a:t>Modelo Corporativo de Dados </a:t>
            </a:r>
            <a:r>
              <a:rPr dirty="0">
                <a:solidFill>
                  <a:prstClr val="black"/>
                </a:solidFill>
              </a:rPr>
              <a:t>(i.e. Modelo Canônico) promove um maior conhecimento do valor dos dados corporativos disponíveis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dirty="0">
                <a:solidFill>
                  <a:prstClr val="black"/>
                </a:solidFill>
              </a:rPr>
              <a:t>Facilita a implementação duma arquitetura de integração que permita maior </a:t>
            </a:r>
            <a:r>
              <a:rPr b="1" dirty="0">
                <a:solidFill>
                  <a:prstClr val="black"/>
                </a:solidFill>
              </a:rPr>
              <a:t>reutilização</a:t>
            </a:r>
            <a:r>
              <a:rPr dirty="0">
                <a:solidFill>
                  <a:prstClr val="black"/>
                </a:solidFill>
              </a:rPr>
              <a:t> de componentes de TI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dirty="0">
                <a:solidFill>
                  <a:prstClr val="black"/>
                </a:solidFill>
              </a:rPr>
              <a:t>Facilita os processos de </a:t>
            </a:r>
            <a:r>
              <a:rPr b="1" dirty="0">
                <a:solidFill>
                  <a:prstClr val="black"/>
                </a:solidFill>
              </a:rPr>
              <a:t>gestão &amp; qualidade de dados</a:t>
            </a:r>
            <a:r>
              <a:rPr dirty="0">
                <a:solidFill>
                  <a:prstClr val="black"/>
                </a:solidFill>
              </a:rPr>
              <a:t>.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180" y="2427734"/>
            <a:ext cx="3304740" cy="2209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81659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369332"/>
          </a:xfrm>
        </p:spPr>
        <p:txBody>
          <a:bodyPr/>
          <a:lstStyle/>
          <a:p>
            <a:r>
              <a:rPr lang="pt-BR" dirty="0" smtClean="0"/>
              <a:t>Controlo de Versão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2</a:t>
            </a:fld>
            <a:endParaRPr lang="pt-BR" dirty="0"/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3525865"/>
              </p:ext>
            </p:extLst>
          </p:nvPr>
        </p:nvGraphicFramePr>
        <p:xfrm>
          <a:off x="467544" y="1175638"/>
          <a:ext cx="8280920" cy="2016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6064"/>
                <a:gridCol w="864096"/>
                <a:gridCol w="1008112"/>
                <a:gridCol w="5832648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V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Autor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Data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Descrição</a:t>
                      </a:r>
                      <a:endParaRPr lang="pt-BR" dirty="0"/>
                    </a:p>
                  </a:txBody>
                  <a:tcPr/>
                </a:tc>
              </a:tr>
              <a:tr h="237624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0.10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H. Morais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11/03/2015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Versão DRAFT </a:t>
                      </a:r>
                      <a:r>
                        <a:rPr lang="pt-BR" sz="1200" baseline="0" dirty="0" smtClean="0"/>
                        <a:t>para revisão. </a:t>
                      </a:r>
                      <a:endParaRPr lang="pt-BR" sz="12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1.00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H. Morais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11/03/2015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Final após</a:t>
                      </a:r>
                      <a:r>
                        <a:rPr lang="pt-BR" sz="1200" baseline="0" dirty="0" smtClean="0"/>
                        <a:t> revisão do Felipe Santos</a:t>
                      </a:r>
                      <a:endParaRPr lang="pt-BR" sz="1200" dirty="0"/>
                    </a:p>
                  </a:txBody>
                  <a:tcPr/>
                </a:tc>
              </a:tr>
              <a:tr h="121032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baseline="0" dirty="0" smtClean="0"/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dirty="0" smtClean="0"/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dirty="0" smtClean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4090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PT" dirty="0"/>
              <a:t>Implementando o Modelo Canônico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Gerindo a Informação em Integração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>
                <a:solidFill>
                  <a:prstClr val="black">
                    <a:tint val="75000"/>
                  </a:prstClr>
                </a:solidFill>
              </a:rPr>
              <a:t> |   MATERIAL CONFIDENCIAL   |   PÁGINA </a:t>
            </a:r>
            <a:fld id="{7F303BA8-C97C-4F5B-B9D3-CDD17C3693B6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131590"/>
            <a:ext cx="8146800" cy="738664"/>
          </a:xfrm>
        </p:spPr>
        <p:txBody>
          <a:bodyPr/>
          <a:lstStyle/>
          <a:p>
            <a:r>
              <a:rPr lang="pt-BR" dirty="0" smtClean="0"/>
              <a:t>A </a:t>
            </a:r>
            <a:r>
              <a:rPr lang="pt-BR" b="1" dirty="0" smtClean="0"/>
              <a:t>Informação Corporativa</a:t>
            </a:r>
            <a:r>
              <a:rPr lang="pt-BR" dirty="0" smtClean="0"/>
              <a:t> (ou os Dados) é o ponto agregador entre </a:t>
            </a:r>
            <a:r>
              <a:rPr lang="pt-BR" b="1" dirty="0" smtClean="0"/>
              <a:t>Aplicações</a:t>
            </a:r>
            <a:r>
              <a:rPr lang="pt-BR" dirty="0" smtClean="0"/>
              <a:t> e </a:t>
            </a:r>
            <a:r>
              <a:rPr lang="pt-BR" b="1" dirty="0" smtClean="0"/>
              <a:t>Integração</a:t>
            </a:r>
            <a:r>
              <a:rPr lang="pt-BR" dirty="0" smtClean="0"/>
              <a:t>. A definição e implementação dum </a:t>
            </a:r>
            <a:r>
              <a:rPr lang="pt-BR" b="1" dirty="0" smtClean="0"/>
              <a:t>Modelo Canônico </a:t>
            </a:r>
            <a:r>
              <a:rPr lang="pt-BR" dirty="0" smtClean="0"/>
              <a:t>permitirá ter a visibilidade e a rastreabilidade das entidades de negócio instanciadas em aplicações e que são </a:t>
            </a:r>
            <a:r>
              <a:rPr lang="pt-BR" b="1" dirty="0" smtClean="0"/>
              <a:t>movimentadas</a:t>
            </a:r>
            <a:r>
              <a:rPr lang="pt-BR" dirty="0" smtClean="0"/>
              <a:t> entre elas.</a:t>
            </a:r>
            <a:endParaRPr lang="pt-BR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854" y="2139702"/>
            <a:ext cx="6514474" cy="259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6591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Implementando o Modelo </a:t>
            </a:r>
            <a:r>
              <a:rPr lang="pt-BR" b="1" dirty="0" smtClean="0">
                <a:solidFill>
                  <a:srgbClr val="009AA6"/>
                </a:solidFill>
                <a:latin typeface="Arial"/>
                <a:cs typeface="Arial"/>
              </a:rPr>
              <a:t>Canônico</a:t>
            </a:r>
          </a:p>
          <a:p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Como definir</a:t>
            </a:r>
            <a:endParaRPr lang="pt-BR" i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27" name="Content Placeholder 2"/>
          <p:cNvSpPr txBox="1">
            <a:spLocks/>
          </p:cNvSpPr>
          <p:nvPr/>
        </p:nvSpPr>
        <p:spPr>
          <a:xfrm>
            <a:off x="457200" y="1178710"/>
            <a:ext cx="82296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pt-BR" sz="1400" dirty="0" smtClean="0">
                <a:latin typeface="Arial"/>
                <a:cs typeface="Arial"/>
              </a:rPr>
              <a:t>A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lang="pt-BR" sz="1400" b="1" dirty="0" smtClean="0">
                <a:latin typeface="Arial"/>
                <a:cs typeface="Arial"/>
              </a:rPr>
              <a:t>Definição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 do Modelo </a:t>
            </a:r>
            <a:r>
              <a:rPr lang="pt-BR" sz="1400" dirty="0" smtClean="0">
                <a:latin typeface="Arial"/>
                <a:cs typeface="Arial"/>
              </a:rPr>
              <a:t>Canônico no âmbito </a:t>
            </a:r>
            <a:r>
              <a:rPr lang="pt-BR" sz="1400" dirty="0" smtClean="0">
                <a:latin typeface="Arial"/>
                <a:cs typeface="Arial"/>
              </a:rPr>
              <a:t>dos projetos </a:t>
            </a:r>
            <a:r>
              <a:rPr lang="pt-BR" sz="1400" dirty="0" smtClean="0">
                <a:latin typeface="Arial"/>
                <a:cs typeface="Arial"/>
              </a:rPr>
              <a:t>é 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efetuado em 3</a:t>
            </a:r>
            <a:r>
              <a:rPr kumimoji="0" lang="pt-BR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fases </a:t>
            </a:r>
            <a:r>
              <a:rPr lang="pt-BR" sz="1400" dirty="0" smtClean="0">
                <a:latin typeface="Arial"/>
                <a:cs typeface="Arial"/>
              </a:rPr>
              <a:t>com</a:t>
            </a:r>
            <a:r>
              <a:rPr kumimoji="0" lang="pt-BR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 objetivos distintos.</a:t>
            </a:r>
            <a:endParaRPr kumimoji="0" lang="pt-BR" sz="14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3" name="Pentagon 32"/>
          <p:cNvSpPr/>
          <p:nvPr/>
        </p:nvSpPr>
        <p:spPr>
          <a:xfrm>
            <a:off x="468313" y="1708006"/>
            <a:ext cx="2916000" cy="3095992"/>
          </a:xfrm>
          <a:prstGeom prst="homePlate">
            <a:avLst>
              <a:gd name="adj" fmla="val 8338"/>
            </a:avLst>
          </a:prstGeom>
          <a:solidFill>
            <a:schemeClr val="accent5"/>
          </a:solidFill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r>
              <a:rPr lang="pt-BR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finição conceitual</a:t>
            </a:r>
          </a:p>
          <a:p>
            <a:endParaRPr lang="pt-BR" sz="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endParaRPr lang="pt-BR" sz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r>
              <a:rPr lang="pt-BR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finição do dicionário de conceitos n</a:t>
            </a:r>
            <a:r>
              <a:rPr lang="pt-BR" altLang="ja-JP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essários para gerar uma </a:t>
            </a:r>
            <a:r>
              <a:rPr lang="pt-BR" altLang="ja-JP" sz="1200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ão de alto nível</a:t>
            </a:r>
            <a:r>
              <a:rPr lang="pt-BR" altLang="ja-JP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s entidades e seus relacionamentos </a:t>
            </a:r>
            <a:r>
              <a:rPr lang="pt-PT" altLang="ja-JP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ravés de palavras e diagramas simples que normalmente são usados na conversação, entendimento e transmissão de ideias e conceitos</a:t>
            </a:r>
            <a:r>
              <a:rPr lang="pt-PT" altLang="ja-JP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pt-PT" altLang="ja-JP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Chevron 33"/>
          <p:cNvSpPr/>
          <p:nvPr/>
        </p:nvSpPr>
        <p:spPr>
          <a:xfrm>
            <a:off x="3199080" y="1708006"/>
            <a:ext cx="2916000" cy="3095992"/>
          </a:xfrm>
          <a:prstGeom prst="chevron">
            <a:avLst>
              <a:gd name="adj" fmla="val 7967"/>
            </a:avLst>
          </a:prstGeom>
          <a:solidFill>
            <a:schemeClr val="accent5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r>
              <a:rPr lang="pt-BR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finição lógica</a:t>
            </a:r>
          </a:p>
          <a:p>
            <a:endParaRPr lang="pt-BR" sz="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lvl="0"/>
            <a:endParaRPr lang="pt-BR" sz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pt-BR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ição das </a:t>
            </a:r>
            <a:r>
              <a:rPr lang="pt-BR" sz="1200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idades</a:t>
            </a:r>
            <a:r>
              <a:rPr lang="pt-BR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negócio e seus </a:t>
            </a:r>
            <a:r>
              <a:rPr lang="pt-BR" sz="1200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ributos</a:t>
            </a:r>
            <a:r>
              <a:rPr lang="pt-BR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PT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as </a:t>
            </a:r>
            <a:r>
              <a:rPr lang="pt-PT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acterísticas e relacionamentos de acordo com determinadas regras de implementação (por exemplo, relacional, orientada a </a:t>
            </a:r>
            <a:r>
              <a:rPr lang="pt-PT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os</a:t>
            </a:r>
            <a:r>
              <a:rPr lang="pt-PT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…).</a:t>
            </a:r>
          </a:p>
        </p:txBody>
      </p:sp>
      <p:sp>
        <p:nvSpPr>
          <p:cNvPr id="35" name="Chevron 34"/>
          <p:cNvSpPr/>
          <p:nvPr/>
        </p:nvSpPr>
        <p:spPr>
          <a:xfrm>
            <a:off x="5925110" y="1708006"/>
            <a:ext cx="2916000" cy="3095992"/>
          </a:xfrm>
          <a:prstGeom prst="chevron">
            <a:avLst>
              <a:gd name="adj" fmla="val 7967"/>
            </a:avLst>
          </a:prstGeom>
          <a:solidFill>
            <a:schemeClr val="accent5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r>
              <a:rPr lang="pt-BR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finição técnica</a:t>
            </a:r>
          </a:p>
          <a:p>
            <a:endParaRPr lang="pt-BR" sz="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endParaRPr lang="pt-BR" sz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r>
              <a:rPr lang="pt-BR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finição da </a:t>
            </a:r>
            <a:r>
              <a:rPr lang="pt-BR" sz="12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presentação técnica</a:t>
            </a:r>
            <a:r>
              <a:rPr lang="pt-BR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das entidades, identificação dos atributos que fazem uso dos dados de referencia e definição do </a:t>
            </a:r>
            <a:r>
              <a:rPr lang="pt-BR" sz="12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odelo de integração</a:t>
            </a:r>
            <a:r>
              <a:rPr lang="pt-BR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pPr indent="92075">
              <a:buFont typeface="Arial" pitchFamily="34" charset="0"/>
              <a:buChar char="•"/>
            </a:pPr>
            <a:r>
              <a:rPr lang="pt-BR" sz="1200" b="1" i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atch</a:t>
            </a:r>
            <a:r>
              <a:rPr lang="pt-BR" sz="1200" b="1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:</a:t>
            </a:r>
            <a:r>
              <a:rPr lang="pt-BR" sz="12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BR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tegração usado para cargas massivas e sem necessidade de tempo de resposta imediato</a:t>
            </a:r>
            <a:endParaRPr lang="pt-BR" sz="12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indent="92075">
              <a:buFont typeface="Arial" pitchFamily="34" charset="0"/>
              <a:buChar char="•"/>
            </a:pPr>
            <a:r>
              <a:rPr lang="pt-BR" sz="1200" b="1" i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nline</a:t>
            </a:r>
            <a:r>
              <a:rPr lang="pt-BR" sz="1200" b="1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pt-BR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tegração com a necessidade de tempo de resposta imediato.</a:t>
            </a:r>
            <a:endParaRPr lang="pt-BR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332" y="3867894"/>
            <a:ext cx="2674516" cy="8383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3579862"/>
            <a:ext cx="2016224" cy="1111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r"/>
              <a:t>21</a:t>
            </a:fld>
            <a:endParaRPr lang="pt-BR" sz="900" b="1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104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2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9552" y="1131590"/>
            <a:ext cx="7776864" cy="576064"/>
          </a:xfrm>
          <a:prstGeom prst="rect">
            <a:avLst/>
          </a:prstGeom>
          <a:extLst/>
        </p:spPr>
        <p:txBody>
          <a:bodyPr/>
          <a:lstStyle/>
          <a:p>
            <a:pPr>
              <a:spcBef>
                <a:spcPct val="20000"/>
              </a:spcBef>
              <a:buFont typeface="Arial"/>
              <a:buNone/>
            </a:pPr>
            <a:r>
              <a:rPr lang="pt-BR" altLang="pt-PT" sz="1400" dirty="0">
                <a:latin typeface="Arial" panose="020B0604020202020204" pitchFamily="34" charset="0"/>
                <a:cs typeface="Arial" panose="020B0604020202020204" pitchFamily="34" charset="0"/>
              </a:rPr>
              <a:t>A fim de </a:t>
            </a:r>
            <a:r>
              <a:rPr lang="pt-BR" altLang="pt-PT" sz="1400" b="1" dirty="0">
                <a:latin typeface="Arial" panose="020B0604020202020204" pitchFamily="34" charset="0"/>
                <a:cs typeface="Arial" panose="020B0604020202020204" pitchFamily="34" charset="0"/>
              </a:rPr>
              <a:t>operacionaliza</a:t>
            </a:r>
            <a:r>
              <a:rPr lang="pt-BR" altLang="pt-PT" sz="1400" dirty="0">
                <a:latin typeface="Arial" panose="020B0604020202020204" pitchFamily="34" charset="0"/>
                <a:cs typeface="Arial" panose="020B0604020202020204" pitchFamily="34" charset="0"/>
              </a:rPr>
              <a:t>r o processo de </a:t>
            </a:r>
            <a:r>
              <a:rPr lang="pt-BR" altLang="pt-PT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dentificação e definição do modelo corporativo de dados da Oi (i.e. modelos, entidades </a:t>
            </a:r>
            <a:r>
              <a:rPr lang="pt-BR" altLang="pt-PT" sz="1400" dirty="0">
                <a:latin typeface="Arial" panose="020B0604020202020204" pitchFamily="34" charset="0"/>
                <a:cs typeface="Arial" panose="020B0604020202020204" pitchFamily="34" charset="0"/>
              </a:rPr>
              <a:t>e atributos </a:t>
            </a:r>
            <a:r>
              <a:rPr lang="pt-BR" altLang="pt-PT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e dados) será </a:t>
            </a:r>
            <a:r>
              <a:rPr lang="pt-BR" altLang="pt-PT" sz="1400" dirty="0">
                <a:latin typeface="Arial" panose="020B0604020202020204" pitchFamily="34" charset="0"/>
                <a:cs typeface="Arial" panose="020B0604020202020204" pitchFamily="34" charset="0"/>
              </a:rPr>
              <a:t>seguida a seguinte metodologia: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Implementando o Modelo Canônico</a:t>
            </a:r>
            <a:br>
              <a:rPr lang="pt-BR" b="1" dirty="0">
                <a:solidFill>
                  <a:srgbClr val="009AA6"/>
                </a:solidFill>
                <a:latin typeface="Arial"/>
                <a:cs typeface="Arial"/>
              </a:rPr>
            </a:br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Metodologia para o Canônico</a:t>
            </a:r>
            <a:endParaRPr lang="pt-PT" i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00508" y="1923678"/>
            <a:ext cx="1883260" cy="2016000"/>
            <a:chOff x="1210511" y="2239764"/>
            <a:chExt cx="1739244" cy="2016000"/>
          </a:xfrm>
        </p:grpSpPr>
        <p:sp>
          <p:nvSpPr>
            <p:cNvPr id="15" name="AutoShape 3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210511" y="2239764"/>
              <a:ext cx="1739244" cy="540000"/>
            </a:xfrm>
            <a:prstGeom prst="homePlate">
              <a:avLst>
                <a:gd name="adj" fmla="val 22195"/>
              </a:avLst>
            </a:prstGeom>
            <a:solidFill>
              <a:srgbClr val="009AA6"/>
            </a:solidFill>
            <a:ln w="3175" algn="ctr">
              <a:solidFill>
                <a:srgbClr val="009AA6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buClr>
                  <a:schemeClr val="tx1"/>
                </a:buClr>
                <a:buSzPct val="90000"/>
              </a:pPr>
              <a:r>
                <a:rPr lang="pt-PT" altLang="pt-PT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vantamento</a:t>
              </a:r>
            </a:p>
          </p:txBody>
        </p:sp>
        <p:sp>
          <p:nvSpPr>
            <p:cNvPr id="17" name="Rectangle 33"/>
            <p:cNvSpPr>
              <a:spLocks noChangeAspect="1" noChangeArrowheads="1"/>
            </p:cNvSpPr>
            <p:nvPr/>
          </p:nvSpPr>
          <p:spPr bwMode="auto">
            <a:xfrm>
              <a:off x="1210511" y="2840758"/>
              <a:ext cx="1739244" cy="138717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0000" tIns="46800" rIns="90000" bIns="46800">
              <a:spAutoFit/>
            </a:bodyPr>
            <a:lstStyle>
              <a:lvl1pPr marL="7938" indent="-7938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87438" indent="-45720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724025" indent="-4572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2360613" indent="-4572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997200" indent="-4572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3454400" indent="-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3911600" indent="-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4368800" indent="-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4826000" indent="-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chemeClr val="tx1"/>
                </a:buClr>
                <a:buSzPct val="90000"/>
              </a:pPr>
              <a:r>
                <a:rPr lang="pt-PT" altLang="pt-PT" sz="1400" dirty="0" smtClean="0">
                  <a:cs typeface="Arial" panose="020B0604020202020204" pitchFamily="34" charset="0"/>
                </a:rPr>
                <a:t>Definir e identificar </a:t>
              </a:r>
              <a:r>
                <a:rPr lang="pt-PT" altLang="pt-PT" sz="1400" dirty="0">
                  <a:cs typeface="Arial" panose="020B0604020202020204" pitchFamily="34" charset="0"/>
                </a:rPr>
                <a:t>os </a:t>
              </a:r>
              <a:r>
                <a:rPr lang="pt-PT" altLang="pt-PT" sz="1400" dirty="0" smtClean="0">
                  <a:cs typeface="Arial" panose="020B0604020202020204" pitchFamily="34" charset="0"/>
                </a:rPr>
                <a:t>conceitos e entidades</a:t>
              </a:r>
              <a:r>
                <a:rPr lang="pt-PT" altLang="pt-PT" sz="1400" dirty="0">
                  <a:cs typeface="Arial" panose="020B0604020202020204" pitchFamily="34" charset="0"/>
                </a:rPr>
                <a:t> </a:t>
              </a:r>
              <a:r>
                <a:rPr lang="pt-PT" altLang="pt-PT" sz="1400" dirty="0" smtClean="0">
                  <a:cs typeface="Arial" panose="020B0604020202020204" pitchFamily="34" charset="0"/>
                </a:rPr>
                <a:t>de  negócio envolvidos no contexto da solução dum projeto</a:t>
              </a:r>
              <a:endParaRPr lang="pt-PT" altLang="pt-PT" sz="1400" dirty="0">
                <a:cs typeface="Arial" panose="020B0604020202020204" pitchFamily="34" charset="0"/>
              </a:endParaRPr>
            </a:p>
          </p:txBody>
        </p:sp>
        <p:cxnSp>
          <p:nvCxnSpPr>
            <p:cNvPr id="4" name="Straight Connector 3"/>
            <p:cNvCxnSpPr/>
            <p:nvPr/>
          </p:nvCxnSpPr>
          <p:spPr>
            <a:xfrm>
              <a:off x="1210511" y="2239764"/>
              <a:ext cx="0" cy="2016000"/>
            </a:xfrm>
            <a:prstGeom prst="line">
              <a:avLst/>
            </a:prstGeom>
            <a:solidFill>
              <a:srgbClr val="0099AB"/>
            </a:solidFill>
            <a:ln w="3175" algn="ctr">
              <a:solidFill>
                <a:srgbClr val="009AA6"/>
              </a:solidFill>
              <a:miter lim="800000"/>
              <a:headEnd/>
              <a:tailEnd/>
            </a:ln>
            <a:effectLst/>
          </p:spPr>
        </p:cxnSp>
      </p:grpSp>
      <p:grpSp>
        <p:nvGrpSpPr>
          <p:cNvPr id="6" name="Group 5"/>
          <p:cNvGrpSpPr/>
          <p:nvPr/>
        </p:nvGrpSpPr>
        <p:grpSpPr>
          <a:xfrm>
            <a:off x="2555776" y="1923678"/>
            <a:ext cx="1861156" cy="2016000"/>
            <a:chOff x="3137694" y="2239764"/>
            <a:chExt cx="1710280" cy="2016000"/>
          </a:xfrm>
        </p:grpSpPr>
        <p:sp>
          <p:nvSpPr>
            <p:cNvPr id="13" name="AutoShape 8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137694" y="2239764"/>
              <a:ext cx="1710280" cy="540000"/>
            </a:xfrm>
            <a:prstGeom prst="homePlate">
              <a:avLst>
                <a:gd name="adj" fmla="val 21826"/>
              </a:avLst>
            </a:prstGeom>
            <a:solidFill>
              <a:srgbClr val="0099AB"/>
            </a:solidFill>
            <a:ln w="3175" algn="ctr">
              <a:solidFill>
                <a:srgbClr val="009AA6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buClr>
                  <a:schemeClr val="tx1"/>
                </a:buClr>
                <a:buSzPct val="90000"/>
              </a:pPr>
              <a:r>
                <a:rPr lang="pt-PT" altLang="pt-PT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olidação</a:t>
              </a:r>
            </a:p>
          </p:txBody>
        </p:sp>
        <p:sp>
          <p:nvSpPr>
            <p:cNvPr id="53" name="Rectangle 77"/>
            <p:cNvSpPr>
              <a:spLocks noChangeAspect="1" noChangeArrowheads="1"/>
            </p:cNvSpPr>
            <p:nvPr/>
          </p:nvSpPr>
          <p:spPr bwMode="auto">
            <a:xfrm>
              <a:off x="3137694" y="2840758"/>
              <a:ext cx="1710280" cy="95628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0000" tIns="46800" rIns="90000" bIns="46800">
              <a:spAutoFit/>
            </a:bodyPr>
            <a:lstStyle>
              <a:lvl1pPr marL="7938" indent="-7938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87438" indent="-45720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724025" indent="-4572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2360613" indent="-4572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997200" indent="-4572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3454400" indent="-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3911600" indent="-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4368800" indent="-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4826000" indent="-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chemeClr val="tx1"/>
                </a:buClr>
                <a:buSzPct val="90000"/>
              </a:pPr>
              <a:r>
                <a:rPr lang="pt-PT" altLang="pt-PT" sz="1400" dirty="0">
                  <a:cs typeface="Arial" panose="020B0604020202020204" pitchFamily="34" charset="0"/>
                </a:rPr>
                <a:t>Sistematizar toda </a:t>
              </a:r>
            </a:p>
            <a:p>
              <a:pPr>
                <a:buClr>
                  <a:schemeClr val="tx1"/>
                </a:buClr>
                <a:buSzPct val="90000"/>
              </a:pPr>
              <a:r>
                <a:rPr lang="pt-PT" altLang="pt-PT" sz="1400" dirty="0">
                  <a:cs typeface="Arial" panose="020B0604020202020204" pitchFamily="34" charset="0"/>
                </a:rPr>
                <a:t>a</a:t>
              </a:r>
              <a:r>
                <a:rPr lang="pt-PT" altLang="pt-PT" sz="1400" dirty="0" smtClean="0">
                  <a:cs typeface="Arial" panose="020B0604020202020204" pitchFamily="34" charset="0"/>
                </a:rPr>
                <a:t> informação das aplicações recolhida</a:t>
              </a:r>
              <a:endParaRPr lang="pt-PT" altLang="pt-PT" sz="1400" dirty="0">
                <a:cs typeface="Arial" panose="020B0604020202020204" pitchFamily="34" charset="0"/>
              </a:endParaRPr>
            </a:p>
            <a:p>
              <a:pPr>
                <a:buClr>
                  <a:schemeClr val="tx1"/>
                </a:buClr>
                <a:buSzPct val="90000"/>
              </a:pPr>
              <a:r>
                <a:rPr lang="pt-PT" altLang="pt-PT" sz="1400" dirty="0">
                  <a:cs typeface="Arial" panose="020B0604020202020204" pitchFamily="34" charset="0"/>
                </a:rPr>
                <a:t>para </a:t>
              </a:r>
              <a:r>
                <a:rPr lang="pt-PT" altLang="pt-PT" sz="1400" dirty="0" smtClean="0">
                  <a:cs typeface="Arial" panose="020B0604020202020204" pitchFamily="34" charset="0"/>
                </a:rPr>
                <a:t>tratamento</a:t>
              </a:r>
              <a:endParaRPr lang="pt-PT" altLang="pt-PT" sz="1400" dirty="0">
                <a:cs typeface="Arial" panose="020B0604020202020204" pitchFamily="34" charset="0"/>
              </a:endParaRPr>
            </a:p>
          </p:txBody>
        </p:sp>
        <p:cxnSp>
          <p:nvCxnSpPr>
            <p:cNvPr id="58" name="Straight Connector 57"/>
            <p:cNvCxnSpPr/>
            <p:nvPr/>
          </p:nvCxnSpPr>
          <p:spPr>
            <a:xfrm>
              <a:off x="3137694" y="2239764"/>
              <a:ext cx="0" cy="2016000"/>
            </a:xfrm>
            <a:prstGeom prst="line">
              <a:avLst/>
            </a:prstGeom>
            <a:solidFill>
              <a:srgbClr val="0099AB"/>
            </a:solidFill>
            <a:ln w="3175" algn="ctr">
              <a:solidFill>
                <a:srgbClr val="009AA6"/>
              </a:solidFill>
              <a:miter lim="800000"/>
              <a:headEnd/>
              <a:tailEnd/>
            </a:ln>
            <a:effectLst/>
          </p:spPr>
        </p:cxnSp>
      </p:grpSp>
      <p:grpSp>
        <p:nvGrpSpPr>
          <p:cNvPr id="7" name="Group 6"/>
          <p:cNvGrpSpPr/>
          <p:nvPr/>
        </p:nvGrpSpPr>
        <p:grpSpPr>
          <a:xfrm>
            <a:off x="4499992" y="1923678"/>
            <a:ext cx="1800200" cy="2016000"/>
            <a:chOff x="4873197" y="2239764"/>
            <a:chExt cx="1696682" cy="2016000"/>
          </a:xfrm>
        </p:grpSpPr>
        <p:sp>
          <p:nvSpPr>
            <p:cNvPr id="11" name="AutoShape 3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873197" y="2239764"/>
              <a:ext cx="1696682" cy="540000"/>
            </a:xfrm>
            <a:prstGeom prst="homePlate">
              <a:avLst>
                <a:gd name="adj" fmla="val 21652"/>
              </a:avLst>
            </a:prstGeom>
            <a:solidFill>
              <a:srgbClr val="0099AB"/>
            </a:solidFill>
            <a:ln w="3175" algn="ctr">
              <a:solidFill>
                <a:srgbClr val="009AA6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buClr>
                  <a:schemeClr val="tx1"/>
                </a:buClr>
                <a:buSzPct val="90000"/>
              </a:pPr>
              <a:r>
                <a:rPr lang="pt-PT" altLang="pt-PT" sz="14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delação</a:t>
              </a:r>
              <a:endParaRPr lang="pt-PT" altLang="pt-PT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Rectangle 41"/>
            <p:cNvSpPr>
              <a:spLocks noChangeAspect="1" noChangeArrowheads="1"/>
            </p:cNvSpPr>
            <p:nvPr/>
          </p:nvSpPr>
          <p:spPr bwMode="auto">
            <a:xfrm>
              <a:off x="4873197" y="2840758"/>
              <a:ext cx="1696682" cy="138717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0000" tIns="46800" rIns="90000" bIns="46800">
              <a:spAutoFit/>
            </a:bodyPr>
            <a:lstStyle/>
            <a:p>
              <a:pPr marL="7938" indent="-7938">
                <a:buClr>
                  <a:schemeClr val="tx1"/>
                </a:buClr>
                <a:buSzPct val="90000"/>
              </a:pPr>
              <a:r>
                <a:rPr lang="pt-PT" altLang="pt-PT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Mapear informação </a:t>
              </a:r>
              <a:r>
                <a:rPr lang="pt-PT" altLang="pt-PT" sz="1400" dirty="0">
                  <a:latin typeface="Arial" panose="020B0604020202020204" pitchFamily="34" charset="0"/>
                  <a:cs typeface="Arial" panose="020B0604020202020204" pitchFamily="34" charset="0"/>
                </a:rPr>
                <a:t>consolidada do processo anterior com o modelo </a:t>
              </a:r>
              <a:r>
                <a:rPr lang="pt-PT" altLang="pt-PT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canônico de </a:t>
              </a:r>
              <a:r>
                <a:rPr lang="pt-PT" altLang="pt-PT" sz="1400" dirty="0">
                  <a:latin typeface="Arial" panose="020B0604020202020204" pitchFamily="34" charset="0"/>
                  <a:cs typeface="Arial" panose="020B0604020202020204" pitchFamily="34" charset="0"/>
                </a:rPr>
                <a:t>referência </a:t>
              </a:r>
            </a:p>
          </p:txBody>
        </p:sp>
        <p:cxnSp>
          <p:nvCxnSpPr>
            <p:cNvPr id="59" name="Straight Connector 58"/>
            <p:cNvCxnSpPr/>
            <p:nvPr/>
          </p:nvCxnSpPr>
          <p:spPr>
            <a:xfrm>
              <a:off x="4873197" y="2239764"/>
              <a:ext cx="0" cy="2016000"/>
            </a:xfrm>
            <a:prstGeom prst="line">
              <a:avLst/>
            </a:prstGeom>
            <a:solidFill>
              <a:srgbClr val="0099AB"/>
            </a:solidFill>
            <a:ln w="3175" algn="ctr">
              <a:solidFill>
                <a:srgbClr val="009AA6"/>
              </a:solidFill>
              <a:miter lim="800000"/>
              <a:headEnd/>
              <a:tailEnd/>
            </a:ln>
            <a:effectLst/>
          </p:spPr>
        </p:cxnSp>
      </p:grpSp>
      <p:grpSp>
        <p:nvGrpSpPr>
          <p:cNvPr id="8" name="Group 7"/>
          <p:cNvGrpSpPr/>
          <p:nvPr/>
        </p:nvGrpSpPr>
        <p:grpSpPr>
          <a:xfrm>
            <a:off x="6372200" y="1923678"/>
            <a:ext cx="1872208" cy="2016000"/>
            <a:chOff x="6619175" y="2239764"/>
            <a:chExt cx="1620151" cy="2016000"/>
          </a:xfrm>
        </p:grpSpPr>
        <p:sp>
          <p:nvSpPr>
            <p:cNvPr id="10" name="AutoShape 3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619175" y="2239764"/>
              <a:ext cx="1620151" cy="540000"/>
            </a:xfrm>
            <a:prstGeom prst="homePlate">
              <a:avLst>
                <a:gd name="adj" fmla="val 20675"/>
              </a:avLst>
            </a:prstGeom>
            <a:solidFill>
              <a:srgbClr val="0099AB"/>
            </a:solidFill>
            <a:ln w="3175" algn="ctr">
              <a:solidFill>
                <a:srgbClr val="009AA6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buClr>
                  <a:schemeClr val="tx1"/>
                </a:buClr>
                <a:buSzPct val="90000"/>
              </a:pPr>
              <a:r>
                <a:rPr lang="pt-PT" altLang="pt-PT" sz="14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ponibilização</a:t>
              </a:r>
              <a:endParaRPr lang="pt-PT" altLang="pt-PT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Rectangle 42"/>
            <p:cNvSpPr>
              <a:spLocks noChangeAspect="1" noChangeArrowheads="1"/>
            </p:cNvSpPr>
            <p:nvPr/>
          </p:nvSpPr>
          <p:spPr bwMode="auto">
            <a:xfrm>
              <a:off x="6621936" y="2840758"/>
              <a:ext cx="1617390" cy="117173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0000" tIns="46800" rIns="90000" bIns="46800">
              <a:spAutoFit/>
            </a:bodyPr>
            <a:lstStyle/>
            <a:p>
              <a:pPr marL="7938" indent="-7938">
                <a:buClr>
                  <a:schemeClr val="tx1"/>
                </a:buClr>
                <a:buSzPct val="90000"/>
              </a:pPr>
              <a:r>
                <a:rPr lang="pt-PT" altLang="pt-PT" sz="1400" dirty="0">
                  <a:latin typeface="Arial" panose="020B0604020202020204" pitchFamily="34" charset="0"/>
                  <a:cs typeface="Arial" panose="020B0604020202020204" pitchFamily="34" charset="0"/>
                </a:rPr>
                <a:t>Disponibilizar toda a informação produzida numa ferramenta de </a:t>
              </a:r>
              <a:r>
                <a:rPr lang="pt-PT" altLang="pt-PT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referência</a:t>
              </a:r>
              <a:endParaRPr lang="pt-PT" altLang="pt-PT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60" name="Straight Connector 59"/>
            <p:cNvCxnSpPr/>
            <p:nvPr/>
          </p:nvCxnSpPr>
          <p:spPr>
            <a:xfrm>
              <a:off x="6619175" y="2239764"/>
              <a:ext cx="0" cy="2016000"/>
            </a:xfrm>
            <a:prstGeom prst="line">
              <a:avLst/>
            </a:prstGeom>
            <a:solidFill>
              <a:srgbClr val="0099AB"/>
            </a:solidFill>
            <a:ln w="3175" algn="ctr">
              <a:solidFill>
                <a:srgbClr val="009AA6"/>
              </a:solidFill>
              <a:miter lim="800000"/>
              <a:headEnd/>
              <a:tailEnd/>
            </a:ln>
            <a:effectLst/>
          </p:spPr>
        </p:cxnSp>
      </p:grpSp>
      <p:sp>
        <p:nvSpPr>
          <p:cNvPr id="21" name="Rectangle 2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7544" y="4659982"/>
            <a:ext cx="7992888" cy="187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7800" indent="317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2072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>
              <a:buNone/>
            </a:pPr>
            <a:r>
              <a:rPr lang="pt-BR" altLang="pt-PT" sz="1200" b="1" i="1" dirty="0" smtClean="0">
                <a:solidFill>
                  <a:srgbClr val="000000"/>
                </a:solidFill>
              </a:rPr>
              <a:t>Nota</a:t>
            </a:r>
            <a:r>
              <a:rPr lang="pt-BR" altLang="pt-PT" sz="1200" i="1" dirty="0" smtClean="0">
                <a:solidFill>
                  <a:srgbClr val="000000"/>
                </a:solidFill>
              </a:rPr>
              <a:t>: </a:t>
            </a:r>
            <a:r>
              <a:rPr lang="pt-BR" altLang="pt-PT" sz="1200" dirty="0" smtClean="0">
                <a:solidFill>
                  <a:srgbClr val="000000"/>
                </a:solidFill>
              </a:rPr>
              <a:t>O fluxo deste processo pode ser consultado em detalhe no </a:t>
            </a:r>
            <a:r>
              <a:rPr lang="pt-BR" altLang="pt-PT" sz="1200" b="1" dirty="0" smtClean="0">
                <a:solidFill>
                  <a:srgbClr val="000000"/>
                </a:solidFill>
              </a:rPr>
              <a:t>Modelo </a:t>
            </a:r>
            <a:r>
              <a:rPr lang="pt-BR" altLang="pt-PT" sz="1200" b="1" dirty="0" smtClean="0">
                <a:solidFill>
                  <a:srgbClr val="000000"/>
                </a:solidFill>
              </a:rPr>
              <a:t>de </a:t>
            </a:r>
            <a:r>
              <a:rPr lang="pt-BR" altLang="pt-PT" sz="1200" b="1" dirty="0" smtClean="0">
                <a:solidFill>
                  <a:srgbClr val="000000"/>
                </a:solidFill>
              </a:rPr>
              <a:t>Governança </a:t>
            </a:r>
            <a:r>
              <a:rPr lang="pt-BR" altLang="pt-PT" sz="1200" b="1" dirty="0" smtClean="0">
                <a:solidFill>
                  <a:srgbClr val="000000"/>
                </a:solidFill>
              </a:rPr>
              <a:t>do Modelo Canônico</a:t>
            </a:r>
          </a:p>
        </p:txBody>
      </p:sp>
      <p:sp>
        <p:nvSpPr>
          <p:cNvPr id="3" name="Texto explicativo em seta para a direita 2"/>
          <p:cNvSpPr/>
          <p:nvPr/>
        </p:nvSpPr>
        <p:spPr>
          <a:xfrm>
            <a:off x="2123728" y="4011910"/>
            <a:ext cx="1805726" cy="288032"/>
          </a:xfrm>
          <a:prstGeom prst="rightArrowCallout">
            <a:avLst>
              <a:gd name="adj1" fmla="val 25000"/>
              <a:gd name="adj2" fmla="val 25000"/>
              <a:gd name="adj3" fmla="val 46402"/>
              <a:gd name="adj4" fmla="val 87730"/>
            </a:avLst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00" dirty="0">
              <a:solidFill>
                <a:schemeClr val="bg1"/>
              </a:solidFill>
            </a:endParaRPr>
          </a:p>
        </p:txBody>
      </p:sp>
      <p:sp>
        <p:nvSpPr>
          <p:cNvPr id="25" name="Texto explicativo em seta para a direita 24"/>
          <p:cNvSpPr/>
          <p:nvPr/>
        </p:nvSpPr>
        <p:spPr>
          <a:xfrm>
            <a:off x="2195736" y="4083918"/>
            <a:ext cx="1805726" cy="288032"/>
          </a:xfrm>
          <a:prstGeom prst="rightArrowCallout">
            <a:avLst>
              <a:gd name="adj1" fmla="val 25000"/>
              <a:gd name="adj2" fmla="val 25000"/>
              <a:gd name="adj3" fmla="val 46402"/>
              <a:gd name="adj4" fmla="val 87730"/>
            </a:avLst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00" dirty="0"/>
          </a:p>
        </p:txBody>
      </p:sp>
      <p:sp>
        <p:nvSpPr>
          <p:cNvPr id="23" name="Texto explicativo em seta para a direita 22"/>
          <p:cNvSpPr/>
          <p:nvPr/>
        </p:nvSpPr>
        <p:spPr>
          <a:xfrm>
            <a:off x="2267744" y="4155926"/>
            <a:ext cx="1805726" cy="288032"/>
          </a:xfrm>
          <a:prstGeom prst="rightArrowCallout">
            <a:avLst>
              <a:gd name="adj1" fmla="val 25000"/>
              <a:gd name="adj2" fmla="val 25000"/>
              <a:gd name="adj3" fmla="val 46402"/>
              <a:gd name="adj4" fmla="val 87730"/>
            </a:avLst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bg1"/>
                </a:solidFill>
              </a:rPr>
              <a:t>Mapeamento (Sistema) para Modelo Canônico</a:t>
            </a:r>
            <a:endParaRPr lang="pt-BR" sz="1000" dirty="0">
              <a:solidFill>
                <a:schemeClr val="bg1"/>
              </a:solidFill>
            </a:endParaRPr>
          </a:p>
        </p:txBody>
      </p:sp>
      <p:sp>
        <p:nvSpPr>
          <p:cNvPr id="26" name="Texto explicativo em seta para a direita 25"/>
          <p:cNvSpPr/>
          <p:nvPr/>
        </p:nvSpPr>
        <p:spPr>
          <a:xfrm>
            <a:off x="4073470" y="4011910"/>
            <a:ext cx="2298730" cy="432048"/>
          </a:xfrm>
          <a:prstGeom prst="rightArrowCallout">
            <a:avLst>
              <a:gd name="adj1" fmla="val 25000"/>
              <a:gd name="adj2" fmla="val 25000"/>
              <a:gd name="adj3" fmla="val 46402"/>
              <a:gd name="adj4" fmla="val 86289"/>
            </a:avLst>
          </a:prstGeom>
          <a:ln cap="rnd"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bg1"/>
                </a:solidFill>
              </a:rPr>
              <a:t>Mapeamento (Projeto) para Modelo Canônico</a:t>
            </a:r>
            <a:endParaRPr lang="pt-BR" sz="1000" dirty="0">
              <a:solidFill>
                <a:schemeClr val="bg1"/>
              </a:solidFill>
            </a:endParaRPr>
          </a:p>
        </p:txBody>
      </p:sp>
      <p:sp>
        <p:nvSpPr>
          <p:cNvPr id="9" name="Retângulo de cantos arredondados 8"/>
          <p:cNvSpPr/>
          <p:nvPr/>
        </p:nvSpPr>
        <p:spPr>
          <a:xfrm>
            <a:off x="6375391" y="4011910"/>
            <a:ext cx="1869017" cy="432048"/>
          </a:xfrm>
          <a:prstGeom prst="round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smtClean="0">
                <a:solidFill>
                  <a:schemeClr val="bg1"/>
                </a:solidFill>
              </a:rPr>
              <a:t>Modelo Canônico Oi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29" name="Texto explicativo em seta para a direita 28"/>
          <p:cNvSpPr/>
          <p:nvPr/>
        </p:nvSpPr>
        <p:spPr>
          <a:xfrm>
            <a:off x="600508" y="4011910"/>
            <a:ext cx="1523220" cy="432048"/>
          </a:xfrm>
          <a:prstGeom prst="rightArrowCallout">
            <a:avLst>
              <a:gd name="adj1" fmla="val 25000"/>
              <a:gd name="adj2" fmla="val 25000"/>
              <a:gd name="adj3" fmla="val 46402"/>
              <a:gd name="adj4" fmla="val 80743"/>
            </a:avLst>
          </a:prstGeom>
          <a:ln cap="rnd"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bg1"/>
                </a:solidFill>
              </a:rPr>
              <a:t>Modelo Canônico</a:t>
            </a:r>
          </a:p>
          <a:p>
            <a:pPr algn="ctr"/>
            <a:r>
              <a:rPr lang="pt-BR" sz="1000" dirty="0" smtClean="0">
                <a:solidFill>
                  <a:schemeClr val="bg1"/>
                </a:solidFill>
              </a:rPr>
              <a:t>Visão Macro </a:t>
            </a:r>
            <a:endParaRPr lang="pt-BR" sz="1000" dirty="0">
              <a:solidFill>
                <a:schemeClr val="bg1"/>
              </a:solidFill>
            </a:endParaRPr>
          </a:p>
        </p:txBody>
      </p:sp>
      <p:sp>
        <p:nvSpPr>
          <p:cNvPr id="28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r"/>
              <a:t>22</a:t>
            </a:fld>
            <a:endParaRPr lang="pt-BR" sz="900" b="1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5879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Implementando o Modelo Canônico </a:t>
            </a:r>
            <a:endParaRPr lang="pt-BR" b="1" dirty="0" smtClean="0">
              <a:solidFill>
                <a:srgbClr val="009AA6"/>
              </a:solidFill>
              <a:latin typeface="Arial"/>
              <a:cs typeface="Arial"/>
            </a:endParaRPr>
          </a:p>
          <a:p>
            <a:r>
              <a:rPr lang="pt-PT" i="1" dirty="0" smtClean="0">
                <a:solidFill>
                  <a:srgbClr val="009AA6"/>
                </a:solidFill>
                <a:latin typeface="Arial"/>
                <a:cs typeface="Arial"/>
              </a:rPr>
              <a:t>Abordagem para a etapa de Levantamento</a:t>
            </a:r>
            <a:endParaRPr lang="pt-PT" i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23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32547" y="1131590"/>
            <a:ext cx="6011661" cy="1035772"/>
          </a:xfrm>
          <a:prstGeom prst="roundRect">
            <a:avLst>
              <a:gd name="adj" fmla="val 7329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4513" indent="-188913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 eaLnBrk="0" fontAlgn="base" hangingPunct="0">
              <a:lnSpc>
                <a:spcPct val="100000"/>
              </a:lnSpc>
              <a:spcAft>
                <a:spcPct val="20000"/>
              </a:spcAft>
              <a:buFontTx/>
              <a:buNone/>
            </a:pPr>
            <a:r>
              <a:rPr lang="pt-PT" altLang="pt-PT" dirty="0">
                <a:solidFill>
                  <a:srgbClr val="000000"/>
                </a:solidFill>
              </a:rPr>
              <a:t>O </a:t>
            </a:r>
            <a:r>
              <a:rPr lang="pt-PT" altLang="pt-PT" b="1" dirty="0">
                <a:solidFill>
                  <a:srgbClr val="000000"/>
                </a:solidFill>
              </a:rPr>
              <a:t>Modelo Canónico</a:t>
            </a:r>
            <a:r>
              <a:rPr lang="pt-PT" altLang="pt-PT" dirty="0">
                <a:solidFill>
                  <a:srgbClr val="000000"/>
                </a:solidFill>
              </a:rPr>
              <a:t>, para assegurar uma </a:t>
            </a:r>
            <a:r>
              <a:rPr lang="pt-PT" altLang="pt-PT" b="1" i="1" dirty="0">
                <a:solidFill>
                  <a:srgbClr val="000000"/>
                </a:solidFill>
              </a:rPr>
              <a:t>visão transversal</a:t>
            </a:r>
            <a:r>
              <a:rPr lang="pt-PT" altLang="pt-PT" dirty="0">
                <a:solidFill>
                  <a:srgbClr val="000000"/>
                </a:solidFill>
              </a:rPr>
              <a:t>, incorpora três visões distintas</a:t>
            </a:r>
            <a:r>
              <a:rPr lang="pt-PT" altLang="pt-PT" dirty="0" smtClean="0">
                <a:solidFill>
                  <a:srgbClr val="000000"/>
                </a:solidFill>
              </a:rPr>
              <a:t>: </a:t>
            </a:r>
            <a:r>
              <a:rPr lang="pt-BR" altLang="pt-PT" dirty="0" smtClean="0">
                <a:solidFill>
                  <a:srgbClr val="000000"/>
                </a:solidFill>
              </a:rPr>
              <a:t>Negócio, Sistema e Implementação</a:t>
            </a:r>
            <a:r>
              <a:rPr lang="pt-BR" altLang="pt-PT" dirty="0">
                <a:solidFill>
                  <a:srgbClr val="000000"/>
                </a:solidFill>
              </a:rPr>
              <a:t>.</a:t>
            </a:r>
            <a:endParaRPr lang="pt-PT" altLang="pt-PT" dirty="0">
              <a:solidFill>
                <a:srgbClr val="000000"/>
              </a:solidFill>
            </a:endParaRPr>
          </a:p>
          <a:p>
            <a:pPr marL="0" lvl="1" indent="0" algn="just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PT" altLang="pt-PT" dirty="0" smtClean="0">
                <a:solidFill>
                  <a:srgbClr val="000000"/>
                </a:solidFill>
              </a:rPr>
              <a:t>Deve </a:t>
            </a:r>
            <a:r>
              <a:rPr lang="pt-PT" altLang="pt-PT" dirty="0">
                <a:solidFill>
                  <a:srgbClr val="000000"/>
                </a:solidFill>
              </a:rPr>
              <a:t>ser assegurada a representação simplificada de conceitos </a:t>
            </a:r>
            <a:endParaRPr lang="pt-PT" altLang="pt-PT" dirty="0" smtClean="0">
              <a:solidFill>
                <a:srgbClr val="000000"/>
              </a:solidFill>
            </a:endParaRPr>
          </a:p>
          <a:p>
            <a:pPr marL="0" lvl="1" indent="0" algn="just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PT" altLang="pt-PT" dirty="0" smtClean="0">
                <a:solidFill>
                  <a:srgbClr val="000000"/>
                </a:solidFill>
              </a:rPr>
              <a:t>significativos </a:t>
            </a:r>
            <a:r>
              <a:rPr lang="pt-PT" altLang="pt-PT" dirty="0">
                <a:solidFill>
                  <a:srgbClr val="000000"/>
                </a:solidFill>
              </a:rPr>
              <a:t>para o </a:t>
            </a:r>
            <a:r>
              <a:rPr lang="pt-PT" altLang="pt-PT" dirty="0" smtClean="0">
                <a:solidFill>
                  <a:srgbClr val="000000"/>
                </a:solidFill>
              </a:rPr>
              <a:t>negócio e usados </a:t>
            </a:r>
            <a:r>
              <a:rPr lang="pt-PT" altLang="pt-PT" dirty="0">
                <a:solidFill>
                  <a:srgbClr val="000000"/>
                </a:solidFill>
              </a:rPr>
              <a:t>em mais do que uma aplicação</a:t>
            </a:r>
            <a:r>
              <a:rPr lang="pt-PT" altLang="pt-PT" dirty="0" smtClean="0">
                <a:solidFill>
                  <a:srgbClr val="000000"/>
                </a:solidFill>
              </a:rPr>
              <a:t>.</a:t>
            </a:r>
            <a:endParaRPr lang="pt-PT" altLang="pt-PT" dirty="0">
              <a:solidFill>
                <a:srgbClr val="000000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259631" y="2499742"/>
            <a:ext cx="1313741" cy="7081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Pentagon 33"/>
          <p:cNvSpPr/>
          <p:nvPr/>
        </p:nvSpPr>
        <p:spPr>
          <a:xfrm>
            <a:off x="539552" y="2504879"/>
            <a:ext cx="1656184" cy="708130"/>
          </a:xfrm>
          <a:prstGeom prst="homePlat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pt-BR" sz="1400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pt-B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onceitos relevantes para o negócio</a:t>
            </a:r>
            <a:endParaRPr lang="pt-BR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267744" y="2499742"/>
            <a:ext cx="2736304" cy="7081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buFont typeface="Arial" pitchFamily="34" charset="0"/>
              <a:buChar char="•"/>
            </a:pPr>
            <a:r>
              <a:rPr lang="pt-BR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cionários de conceitos</a:t>
            </a:r>
            <a:r>
              <a:rPr lang="pt-B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</a:t>
            </a:r>
            <a:r>
              <a:rPr lang="pt-BR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tidades representativas dos mesmos</a:t>
            </a:r>
          </a:p>
        </p:txBody>
      </p:sp>
      <p:sp>
        <p:nvSpPr>
          <p:cNvPr id="36" name="Rectangle 35"/>
          <p:cNvSpPr/>
          <p:nvPr/>
        </p:nvSpPr>
        <p:spPr>
          <a:xfrm>
            <a:off x="1412031" y="3283232"/>
            <a:ext cx="1313741" cy="7081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Pentagon 36"/>
          <p:cNvSpPr/>
          <p:nvPr/>
        </p:nvSpPr>
        <p:spPr>
          <a:xfrm>
            <a:off x="539552" y="3283231"/>
            <a:ext cx="1656184" cy="702993"/>
          </a:xfrm>
          <a:prstGeom prst="homePlat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pt-B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Como se relacionam</a:t>
            </a:r>
            <a:endParaRPr lang="pt-BR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2267744" y="3283232"/>
            <a:ext cx="2736304" cy="7081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buFont typeface="Arial" pitchFamily="34" charset="0"/>
              <a:buChar char="•"/>
            </a:pPr>
            <a:r>
              <a:rPr lang="pt-BR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agramas de entidade-relação</a:t>
            </a:r>
          </a:p>
          <a:p>
            <a:pPr>
              <a:buFont typeface="Arial" pitchFamily="34" charset="0"/>
              <a:buChar char="•"/>
            </a:pPr>
            <a:r>
              <a:rPr lang="pt-BR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agramas semânticos</a:t>
            </a:r>
          </a:p>
          <a:p>
            <a:pPr>
              <a:buFont typeface="Arial" pitchFamily="34" charset="0"/>
              <a:buChar char="•"/>
            </a:pPr>
            <a:r>
              <a:rPr lang="pt-B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cionamento com sistema(s)</a:t>
            </a:r>
          </a:p>
        </p:txBody>
      </p:sp>
      <p:sp>
        <p:nvSpPr>
          <p:cNvPr id="39" name="Rectangle 38"/>
          <p:cNvSpPr/>
          <p:nvPr/>
        </p:nvSpPr>
        <p:spPr>
          <a:xfrm>
            <a:off x="1331639" y="4085594"/>
            <a:ext cx="1313741" cy="7081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Pentagon 39"/>
          <p:cNvSpPr/>
          <p:nvPr/>
        </p:nvSpPr>
        <p:spPr>
          <a:xfrm>
            <a:off x="539552" y="4085594"/>
            <a:ext cx="1656184" cy="706454"/>
          </a:xfrm>
          <a:prstGeom prst="homePlat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pt-B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nformação   caracterizadora</a:t>
            </a:r>
            <a:endParaRPr lang="pt-BR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2267744" y="4085594"/>
            <a:ext cx="2736304" cy="7081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eaLnBrk="0" fontAlgn="base" hangingPunct="0">
              <a:spcBef>
                <a:spcPct val="10000"/>
              </a:spcBef>
              <a:spcAft>
                <a:spcPct val="10000"/>
              </a:spcAft>
              <a:buFont typeface="Arial" pitchFamily="34" charset="0"/>
              <a:buChar char="•"/>
            </a:pPr>
            <a:r>
              <a:rPr lang="pt-PT" altLang="pt-PT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as de identificadores, atributos base e de extensão (ex.: características)</a:t>
            </a:r>
            <a:endParaRPr lang="pt-PT" altLang="pt-PT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3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76056" y="2484487"/>
            <a:ext cx="3902335" cy="2175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4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516216" y="915566"/>
            <a:ext cx="1656184" cy="1439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r"/>
              <a:t>23</a:t>
            </a:fld>
            <a:endParaRPr lang="pt-BR" sz="900" b="1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3524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32547" y="1131590"/>
            <a:ext cx="7667845" cy="834372"/>
          </a:xfrm>
          <a:prstGeom prst="roundRect">
            <a:avLst>
              <a:gd name="adj" fmla="val 7329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4513" indent="-188913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ClrTx/>
              <a:buNone/>
            </a:pPr>
            <a:r>
              <a:rPr lang="pt-PT" dirty="0"/>
              <a:t>Para manter a informação que circula em integração o mais </a:t>
            </a:r>
            <a:r>
              <a:rPr lang="pt-PT" dirty="0" smtClean="0"/>
              <a:t>genérica e simplificada possível, mas completa, e de forma a facilitar </a:t>
            </a:r>
            <a:r>
              <a:rPr lang="pt-PT" dirty="0"/>
              <a:t>a reutilização e incorporação de novas aplicações no </a:t>
            </a:r>
            <a:r>
              <a:rPr lang="pt-PT" dirty="0" smtClean="0"/>
              <a:t>ecossistema</a:t>
            </a:r>
            <a:r>
              <a:rPr lang="pt-PT" dirty="0">
                <a:solidFill>
                  <a:srgbClr val="000000"/>
                </a:solidFill>
              </a:rPr>
              <a:t> </a:t>
            </a:r>
            <a:r>
              <a:rPr lang="pt-PT" dirty="0" smtClean="0">
                <a:solidFill>
                  <a:srgbClr val="000000"/>
                </a:solidFill>
              </a:rPr>
              <a:t>de TI, as seguintes permissas serão utilizadas:</a:t>
            </a:r>
            <a:endParaRPr lang="pt-PT" altLang="pt-PT" dirty="0">
              <a:solidFill>
                <a:srgbClr val="000000"/>
              </a:solidFill>
            </a:endParaRPr>
          </a:p>
        </p:txBody>
      </p:sp>
      <p:sp>
        <p:nvSpPr>
          <p:cNvPr id="34" name="Pentagon 33"/>
          <p:cNvSpPr/>
          <p:nvPr/>
        </p:nvSpPr>
        <p:spPr>
          <a:xfrm>
            <a:off x="539552" y="2007636"/>
            <a:ext cx="2304256" cy="636122"/>
          </a:xfrm>
          <a:prstGeom prst="homePlat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pt-BR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ormalização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de entidades e conceitos</a:t>
            </a:r>
          </a:p>
        </p:txBody>
      </p:sp>
      <p:sp>
        <p:nvSpPr>
          <p:cNvPr id="35" name="Rectangle 34"/>
          <p:cNvSpPr/>
          <p:nvPr/>
        </p:nvSpPr>
        <p:spPr>
          <a:xfrm>
            <a:off x="2987824" y="2007636"/>
            <a:ext cx="5184576" cy="6361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BR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urar </a:t>
            </a:r>
            <a:r>
              <a:rPr lang="pt-BR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itos onde possam ser criadas relações de equivalência visando a consolidação </a:t>
            </a:r>
            <a:r>
              <a:rPr lang="pt-BR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pt-BR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idades que os representam de forma </a:t>
            </a:r>
            <a:r>
              <a:rPr lang="pt-BR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erente e diversos sistemas</a:t>
            </a:r>
          </a:p>
        </p:txBody>
      </p:sp>
      <p:sp>
        <p:nvSpPr>
          <p:cNvPr id="42" name="Pentagon 33"/>
          <p:cNvSpPr/>
          <p:nvPr/>
        </p:nvSpPr>
        <p:spPr>
          <a:xfrm>
            <a:off x="539552" y="2715766"/>
            <a:ext cx="2304256" cy="636122"/>
          </a:xfrm>
          <a:prstGeom prst="homePlat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chemeClr val="tx1"/>
              </a:buClr>
              <a:buSzPct val="90000"/>
              <a:buFont typeface="Arial Unicode MS" pitchFamily="34" charset="-128"/>
              <a:buNone/>
            </a:pPr>
            <a:r>
              <a:rPr lang="pt-PT" sz="1200" b="1" dirty="0" smtClean="0">
                <a:latin typeface="Myriad Pro" pitchFamily="34" charset="0"/>
              </a:rPr>
              <a:t>Utilização de identificadores </a:t>
            </a:r>
            <a:r>
              <a:rPr lang="pt-PT" sz="1200" b="1" dirty="0">
                <a:latin typeface="Myriad Pro" pitchFamily="34" charset="0"/>
              </a:rPr>
              <a:t>canónicos</a:t>
            </a:r>
          </a:p>
        </p:txBody>
      </p:sp>
      <p:sp>
        <p:nvSpPr>
          <p:cNvPr id="43" name="Rectangle 34"/>
          <p:cNvSpPr/>
          <p:nvPr/>
        </p:nvSpPr>
        <p:spPr>
          <a:xfrm>
            <a:off x="2987824" y="2715766"/>
            <a:ext cx="5184576" cy="6361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BR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tacar, para cada conceito, um atributo que permita a identificação unívoca de cada instância em todos os </a:t>
            </a:r>
            <a:r>
              <a:rPr lang="pt-BR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ceiros (ou sistemas) </a:t>
            </a:r>
            <a:r>
              <a:rPr lang="pt-BR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 lidam com a entidade</a:t>
            </a:r>
            <a:endParaRPr lang="pt-BR" sz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Pentagon 33"/>
          <p:cNvSpPr/>
          <p:nvPr/>
        </p:nvSpPr>
        <p:spPr>
          <a:xfrm>
            <a:off x="539552" y="3423896"/>
            <a:ext cx="2304256" cy="636122"/>
          </a:xfrm>
          <a:prstGeom prst="homePlat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chemeClr val="tx1"/>
              </a:buClr>
              <a:buSzPct val="90000"/>
              <a:buFont typeface="Arial Unicode MS" pitchFamily="34" charset="-128"/>
              <a:buNone/>
            </a:pPr>
            <a:r>
              <a:rPr lang="pt-PT" sz="1200" b="1" dirty="0">
                <a:latin typeface="Myriad Pro" pitchFamily="34" charset="0"/>
              </a:rPr>
              <a:t>Consolidação de  atributos equivalentes</a:t>
            </a:r>
          </a:p>
        </p:txBody>
      </p:sp>
      <p:sp>
        <p:nvSpPr>
          <p:cNvPr id="45" name="Rectangle 34"/>
          <p:cNvSpPr/>
          <p:nvPr/>
        </p:nvSpPr>
        <p:spPr>
          <a:xfrm>
            <a:off x="2987824" y="3423896"/>
            <a:ext cx="5184576" cy="6361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BR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urar atributos onde possam ser criadas relações de equivalência entre os respetivos conceitos visando a consolidação dos mesmos.</a:t>
            </a:r>
          </a:p>
        </p:txBody>
      </p:sp>
      <p:sp>
        <p:nvSpPr>
          <p:cNvPr id="46" name="Pentagon 33"/>
          <p:cNvSpPr/>
          <p:nvPr/>
        </p:nvSpPr>
        <p:spPr>
          <a:xfrm>
            <a:off x="539552" y="4155926"/>
            <a:ext cx="2304256" cy="636122"/>
          </a:xfrm>
          <a:prstGeom prst="homePlat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chemeClr val="tx1"/>
              </a:buClr>
              <a:buSzPct val="90000"/>
              <a:buFont typeface="Arial Unicode MS" pitchFamily="34" charset="-128"/>
              <a:buNone/>
            </a:pPr>
            <a:r>
              <a:rPr lang="pt-PT" sz="1200" b="1" dirty="0">
                <a:latin typeface="Myriad Pro" pitchFamily="34" charset="0"/>
              </a:rPr>
              <a:t>Utilização de </a:t>
            </a:r>
            <a:r>
              <a:rPr lang="pt-PT" sz="1200" b="1" i="1" dirty="0" smtClean="0">
                <a:latin typeface="Myriad Pro" pitchFamily="34" charset="0"/>
              </a:rPr>
              <a:t>Dados de Referência</a:t>
            </a:r>
            <a:r>
              <a:rPr lang="pt-PT" sz="1200" b="1" dirty="0" smtClean="0">
                <a:latin typeface="Myriad Pro" pitchFamily="34" charset="0"/>
              </a:rPr>
              <a:t> canónicos</a:t>
            </a:r>
            <a:endParaRPr lang="pt-PT" sz="1200" b="1" dirty="0">
              <a:latin typeface="Myriad Pro" pitchFamily="34" charset="0"/>
            </a:endParaRPr>
          </a:p>
        </p:txBody>
      </p:sp>
      <p:sp>
        <p:nvSpPr>
          <p:cNvPr id="47" name="Rectangle 34"/>
          <p:cNvSpPr/>
          <p:nvPr/>
        </p:nvSpPr>
        <p:spPr>
          <a:xfrm>
            <a:off x="2987824" y="4155926"/>
            <a:ext cx="5184576" cy="6361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BR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ributos que sejam limitados por gamas de valores </a:t>
            </a:r>
            <a:r>
              <a:rPr lang="pt-BR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rão </a:t>
            </a:r>
            <a:r>
              <a:rPr lang="pt-BR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 representados usando o valor canónico </a:t>
            </a:r>
            <a:r>
              <a:rPr lang="pt-BR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dado de referência</a:t>
            </a:r>
            <a:endParaRPr lang="pt-BR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2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Implementando o Modelo Canônico </a:t>
            </a:r>
            <a:endParaRPr lang="pt-BR" b="1" dirty="0" smtClean="0">
              <a:solidFill>
                <a:srgbClr val="009AA6"/>
              </a:solidFill>
              <a:latin typeface="Arial"/>
              <a:cs typeface="Arial"/>
            </a:endParaRPr>
          </a:p>
          <a:p>
            <a:r>
              <a:rPr lang="pt-PT" i="1" dirty="0" smtClean="0">
                <a:solidFill>
                  <a:srgbClr val="009AA6"/>
                </a:solidFill>
                <a:latin typeface="Arial"/>
                <a:cs typeface="Arial"/>
              </a:rPr>
              <a:t>Abordagem para a etapa de Consolidação</a:t>
            </a:r>
            <a:endParaRPr lang="pt-PT" i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14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r"/>
              <a:t>24</a:t>
            </a:fld>
            <a:endParaRPr lang="pt-BR" sz="900" b="1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9088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32547" y="1131590"/>
            <a:ext cx="3491381" cy="3810619"/>
          </a:xfrm>
          <a:prstGeom prst="roundRect">
            <a:avLst>
              <a:gd name="adj" fmla="val 7329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4513" indent="-188913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None/>
            </a:pPr>
            <a:r>
              <a:rPr lang="pt-BR" dirty="0" smtClean="0">
                <a:latin typeface="Arial"/>
                <a:cs typeface="Arial"/>
              </a:rPr>
              <a:t>A </a:t>
            </a:r>
            <a:r>
              <a:rPr lang="pt-BR" b="1" dirty="0" smtClean="0">
                <a:latin typeface="Arial"/>
                <a:cs typeface="Arial"/>
              </a:rPr>
              <a:t>Arquitetura </a:t>
            </a:r>
            <a:r>
              <a:rPr lang="pt-BR" b="1" dirty="0">
                <a:latin typeface="Arial"/>
                <a:cs typeface="Arial"/>
              </a:rPr>
              <a:t>de Dados</a:t>
            </a:r>
            <a:r>
              <a:rPr lang="pt-BR" dirty="0">
                <a:latin typeface="Arial"/>
                <a:cs typeface="Arial"/>
              </a:rPr>
              <a:t> de </a:t>
            </a:r>
            <a:r>
              <a:rPr lang="pt-BR" b="1" dirty="0">
                <a:latin typeface="Arial"/>
                <a:cs typeface="Arial"/>
              </a:rPr>
              <a:t>referência</a:t>
            </a:r>
            <a:r>
              <a:rPr lang="pt-BR" dirty="0">
                <a:latin typeface="Arial"/>
                <a:cs typeface="Arial"/>
              </a:rPr>
              <a:t> para </a:t>
            </a:r>
            <a:r>
              <a:rPr lang="pt-BR" dirty="0" err="1" smtClean="0">
                <a:latin typeface="Arial"/>
                <a:cs typeface="Arial"/>
              </a:rPr>
              <a:t>Telco</a:t>
            </a:r>
            <a:r>
              <a:rPr lang="pt-BR" dirty="0" smtClean="0">
                <a:latin typeface="Arial"/>
                <a:cs typeface="Arial"/>
              </a:rPr>
              <a:t> assenta </a:t>
            </a:r>
            <a:r>
              <a:rPr lang="pt-BR" dirty="0">
                <a:latin typeface="Arial"/>
                <a:cs typeface="Arial"/>
              </a:rPr>
              <a:t>no standard denominado de SID </a:t>
            </a:r>
            <a:r>
              <a:rPr lang="pt-BR" b="1" dirty="0">
                <a:latin typeface="Arial"/>
                <a:cs typeface="Arial"/>
              </a:rPr>
              <a:t>(</a:t>
            </a:r>
            <a:r>
              <a:rPr lang="pt-BR" b="1" dirty="0" err="1">
                <a:latin typeface="Arial"/>
                <a:cs typeface="Arial"/>
              </a:rPr>
              <a:t>Information</a:t>
            </a:r>
            <a:r>
              <a:rPr lang="pt-BR" b="1" dirty="0">
                <a:latin typeface="Arial"/>
                <a:cs typeface="Arial"/>
              </a:rPr>
              <a:t> Framework) </a:t>
            </a:r>
            <a:r>
              <a:rPr lang="pt-BR" dirty="0">
                <a:latin typeface="Arial"/>
                <a:cs typeface="Arial"/>
              </a:rPr>
              <a:t>que contém definições de toda a informação que trafega numa empresa de </a:t>
            </a:r>
            <a:r>
              <a:rPr lang="pt-BR" dirty="0" smtClean="0">
                <a:latin typeface="Arial"/>
                <a:cs typeface="Arial"/>
              </a:rPr>
              <a:t>telecomunicações. </a:t>
            </a:r>
          </a:p>
          <a:p>
            <a:pPr>
              <a:buNone/>
            </a:pPr>
            <a:r>
              <a:rPr lang="pt-BR" dirty="0" smtClean="0">
                <a:latin typeface="Arial"/>
                <a:cs typeface="Arial"/>
              </a:rPr>
              <a:t>O </a:t>
            </a:r>
            <a:r>
              <a:rPr lang="pt-BR" dirty="0">
                <a:latin typeface="Arial"/>
                <a:cs typeface="Arial"/>
              </a:rPr>
              <a:t>novo </a:t>
            </a:r>
            <a:r>
              <a:rPr lang="pt-BR" b="1" dirty="0" err="1">
                <a:latin typeface="Arial"/>
                <a:cs typeface="Arial"/>
              </a:rPr>
              <a:t>Integration</a:t>
            </a:r>
            <a:r>
              <a:rPr lang="pt-BR" b="1" dirty="0">
                <a:latin typeface="Arial"/>
                <a:cs typeface="Arial"/>
              </a:rPr>
              <a:t> Framework </a:t>
            </a:r>
            <a:r>
              <a:rPr lang="pt-BR" dirty="0">
                <a:latin typeface="Arial"/>
                <a:cs typeface="Arial"/>
              </a:rPr>
              <a:t>que define o mapeamento entre o </a:t>
            </a:r>
            <a:r>
              <a:rPr lang="pt-BR" dirty="0" err="1">
                <a:latin typeface="Arial"/>
                <a:cs typeface="Arial"/>
              </a:rPr>
              <a:t>eTOM</a:t>
            </a:r>
            <a:r>
              <a:rPr lang="pt-BR" dirty="0">
                <a:latin typeface="Arial"/>
                <a:cs typeface="Arial"/>
              </a:rPr>
              <a:t>, TAM e SID e </a:t>
            </a:r>
            <a:r>
              <a:rPr lang="pt-BR" dirty="0" smtClean="0">
                <a:latin typeface="Arial"/>
                <a:cs typeface="Arial"/>
              </a:rPr>
              <a:t>suporta </a:t>
            </a:r>
            <a:r>
              <a:rPr lang="pt-BR" dirty="0">
                <a:latin typeface="Arial"/>
                <a:cs typeface="Arial"/>
              </a:rPr>
              <a:t>a definição de serviços de negócio baseado nos </a:t>
            </a:r>
            <a:r>
              <a:rPr lang="pt-BR" dirty="0" smtClean="0">
                <a:latin typeface="Arial"/>
                <a:cs typeface="Arial"/>
              </a:rPr>
              <a:t>standards.</a:t>
            </a:r>
          </a:p>
          <a:p>
            <a:pPr>
              <a:buNone/>
            </a:pPr>
            <a:r>
              <a:rPr lang="pt-BR" dirty="0" smtClean="0">
                <a:latin typeface="Arial"/>
                <a:cs typeface="Arial"/>
              </a:rPr>
              <a:t>Para implementar o Modelo Canônico na Oi usamos estas referências como </a:t>
            </a:r>
            <a:r>
              <a:rPr lang="pt-BR" b="1" dirty="0" smtClean="0">
                <a:latin typeface="Arial"/>
                <a:cs typeface="Arial"/>
              </a:rPr>
              <a:t>Guias</a:t>
            </a:r>
            <a:r>
              <a:rPr lang="pt-BR" dirty="0" smtClean="0">
                <a:latin typeface="Arial"/>
                <a:cs typeface="Arial"/>
              </a:rPr>
              <a:t>.</a:t>
            </a:r>
            <a:endParaRPr lang="pt-BR" dirty="0">
              <a:latin typeface="Arial"/>
              <a:cs typeface="Arial"/>
            </a:endParaRPr>
          </a:p>
        </p:txBody>
      </p:sp>
      <p:sp>
        <p:nvSpPr>
          <p:cNvPr id="13" name="TextBox 2"/>
          <p:cNvSpPr txBox="1"/>
          <p:nvPr/>
        </p:nvSpPr>
        <p:spPr>
          <a:xfrm>
            <a:off x="432547" y="309786"/>
            <a:ext cx="7595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Implementando o Modelo Canônico </a:t>
            </a:r>
            <a:endParaRPr lang="pt-BR" b="1" dirty="0" smtClean="0">
              <a:solidFill>
                <a:srgbClr val="009AA6"/>
              </a:solidFill>
              <a:latin typeface="Arial"/>
              <a:cs typeface="Arial"/>
            </a:endParaRPr>
          </a:p>
          <a:p>
            <a:r>
              <a:rPr lang="pt-PT" i="1" dirty="0" smtClean="0">
                <a:solidFill>
                  <a:srgbClr val="009AA6"/>
                </a:solidFill>
                <a:latin typeface="Arial"/>
                <a:cs typeface="Arial"/>
              </a:rPr>
              <a:t>Utilizando o Modelo de Referência de Telecomunicações (SID)</a:t>
            </a:r>
            <a:endParaRPr lang="pt-PT" i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pic>
        <p:nvPicPr>
          <p:cNvPr id="14" name="Picture 2" descr="http://www.tmforum.org/sdata/content/PracticesStandards/sid/sid_model_2013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7944" y="1146502"/>
            <a:ext cx="4464496" cy="3657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r"/>
              <a:t>25</a:t>
            </a:fld>
            <a:endParaRPr lang="pt-BR" sz="900" b="1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6766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4005271" y="710575"/>
            <a:ext cx="11400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buSzPct val="80000"/>
            </a:pPr>
            <a:r>
              <a:rPr lang="pt-PT" altLang="pt-PT" sz="1200" dirty="0" smtClean="0">
                <a:solidFill>
                  <a:schemeClr val="lt1"/>
                </a:solidFill>
                <a:latin typeface="Arial" pitchFamily="34" charset="0"/>
                <a:cs typeface="Arial" pitchFamily="34" charset="0"/>
              </a:rPr>
              <a:t>Foco analítico</a:t>
            </a:r>
            <a:endParaRPr lang="pt-PT" altLang="pt-PT" sz="1200" dirty="0">
              <a:solidFill>
                <a:schemeClr val="lt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2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0359" y="1138059"/>
            <a:ext cx="7384009" cy="4739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7800" indent="317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2072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algn="just">
              <a:buNone/>
            </a:pPr>
            <a:r>
              <a:rPr lang="pt-BR" altLang="pt-PT" sz="1400" dirty="0" smtClean="0">
                <a:solidFill>
                  <a:srgbClr val="000000"/>
                </a:solidFill>
              </a:rPr>
              <a:t>A fim de operacionalizar o processo de definição da informação de referência apresentada, é seguida a seguinte metodologia para a governança </a:t>
            </a:r>
            <a:r>
              <a:rPr lang="pt-BR" altLang="pt-PT" sz="1400" dirty="0">
                <a:solidFill>
                  <a:srgbClr val="000000"/>
                </a:solidFill>
              </a:rPr>
              <a:t>d</a:t>
            </a:r>
            <a:r>
              <a:rPr lang="pt-BR" altLang="pt-PT" sz="1400" dirty="0" smtClean="0">
                <a:solidFill>
                  <a:srgbClr val="000000"/>
                </a:solidFill>
              </a:rPr>
              <a:t>o </a:t>
            </a:r>
            <a:r>
              <a:rPr lang="pt-BR" altLang="pt-PT" sz="1400" i="1" dirty="0" smtClean="0">
                <a:solidFill>
                  <a:srgbClr val="000000"/>
                </a:solidFill>
              </a:rPr>
              <a:t>Reference</a:t>
            </a:r>
            <a:r>
              <a:rPr lang="pt-BR" altLang="pt-PT" sz="1400" dirty="0" smtClean="0">
                <a:solidFill>
                  <a:srgbClr val="000000"/>
                </a:solidFill>
              </a:rPr>
              <a:t> </a:t>
            </a:r>
            <a:r>
              <a:rPr lang="pt-BR" altLang="pt-PT" sz="1400" i="1" dirty="0" smtClean="0">
                <a:solidFill>
                  <a:srgbClr val="000000"/>
                </a:solidFill>
              </a:rPr>
              <a:t>Data </a:t>
            </a:r>
            <a:r>
              <a:rPr lang="pt-BR" altLang="pt-PT" sz="1400" dirty="0" smtClean="0">
                <a:solidFill>
                  <a:srgbClr val="000000"/>
                </a:solidFill>
              </a:rPr>
              <a:t>: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486794" y="1779662"/>
            <a:ext cx="2055245" cy="1988170"/>
            <a:chOff x="855553" y="1923678"/>
            <a:chExt cx="1739244" cy="1988170"/>
          </a:xfrm>
          <a:solidFill>
            <a:srgbClr val="009AA6"/>
          </a:solidFill>
        </p:grpSpPr>
        <p:sp>
          <p:nvSpPr>
            <p:cNvPr id="11" name="AutoShape 3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855553" y="1923678"/>
              <a:ext cx="1739244" cy="540000"/>
            </a:xfrm>
            <a:prstGeom prst="homePlate">
              <a:avLst>
                <a:gd name="adj" fmla="val 22195"/>
              </a:avLst>
            </a:prstGeom>
            <a:grpFill/>
            <a:ln w="3175" algn="ctr">
              <a:solidFill>
                <a:srgbClr val="009AA6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buClr>
                  <a:schemeClr val="tx1"/>
                </a:buClr>
                <a:buSzPct val="90000"/>
              </a:pPr>
              <a:r>
                <a:rPr lang="pt-PT" altLang="pt-PT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vantamento</a:t>
              </a:r>
            </a:p>
          </p:txBody>
        </p:sp>
        <p:sp>
          <p:nvSpPr>
            <p:cNvPr id="12" name="Rectangle 33"/>
            <p:cNvSpPr>
              <a:spLocks noChangeAspect="1" noChangeArrowheads="1"/>
            </p:cNvSpPr>
            <p:nvPr/>
          </p:nvSpPr>
          <p:spPr bwMode="auto">
            <a:xfrm>
              <a:off x="855553" y="2524672"/>
              <a:ext cx="1620000" cy="138717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90000" tIns="46800" rIns="90000" bIns="46800">
              <a:spAutoFit/>
            </a:bodyPr>
            <a:lstStyle>
              <a:lvl1pPr marL="7938" indent="-7938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87438" indent="-45720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724025" indent="-4572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2360613" indent="-4572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997200" indent="-4572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3454400" indent="-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3911600" indent="-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4368800" indent="-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4826000" indent="-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chemeClr val="tx1"/>
                </a:buClr>
                <a:buSzPct val="90000"/>
              </a:pPr>
              <a:r>
                <a:rPr lang="pt-PT" altLang="pt-PT" sz="1400" dirty="0" smtClean="0">
                  <a:cs typeface="Arial" panose="020B0604020202020204" pitchFamily="34" charset="0"/>
                </a:rPr>
                <a:t>Definir e Identificar valores de referência envolvidos em um projeto a partir do Modelo Canônico</a:t>
              </a:r>
              <a:endParaRPr lang="pt-PT" altLang="pt-PT" sz="1400" dirty="0">
                <a:cs typeface="Arial" panose="020B0604020202020204" pitchFamily="34" charset="0"/>
              </a:endParaRPr>
            </a:p>
          </p:txBody>
        </p:sp>
      </p:grpSp>
      <p:cxnSp>
        <p:nvCxnSpPr>
          <p:cNvPr id="13" name="Straight Connector 12"/>
          <p:cNvCxnSpPr/>
          <p:nvPr/>
        </p:nvCxnSpPr>
        <p:spPr>
          <a:xfrm>
            <a:off x="486794" y="1779662"/>
            <a:ext cx="0" cy="2016000"/>
          </a:xfrm>
          <a:prstGeom prst="line">
            <a:avLst/>
          </a:prstGeom>
          <a:solidFill>
            <a:srgbClr val="0099AB"/>
          </a:solidFill>
          <a:ln w="3175" algn="ctr">
            <a:solidFill>
              <a:srgbClr val="009AA6"/>
            </a:solidFill>
            <a:miter lim="800000"/>
            <a:headEnd/>
            <a:tailEnd/>
          </a:ln>
          <a:effectLst/>
        </p:spPr>
      </p:cxnSp>
      <p:grpSp>
        <p:nvGrpSpPr>
          <p:cNvPr id="27" name="Group 26"/>
          <p:cNvGrpSpPr/>
          <p:nvPr/>
        </p:nvGrpSpPr>
        <p:grpSpPr>
          <a:xfrm>
            <a:off x="2629524" y="1779662"/>
            <a:ext cx="1893017" cy="1772726"/>
            <a:chOff x="2682282" y="1923678"/>
            <a:chExt cx="1893017" cy="1772726"/>
          </a:xfrm>
          <a:solidFill>
            <a:srgbClr val="009AA6"/>
          </a:solidFill>
        </p:grpSpPr>
        <p:sp>
          <p:nvSpPr>
            <p:cNvPr id="15" name="AutoShape 8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682282" y="1923678"/>
              <a:ext cx="1817709" cy="540000"/>
            </a:xfrm>
            <a:prstGeom prst="homePlate">
              <a:avLst>
                <a:gd name="adj" fmla="val 21826"/>
              </a:avLst>
            </a:prstGeom>
            <a:grpFill/>
            <a:ln w="3175" algn="ctr">
              <a:solidFill>
                <a:srgbClr val="009AA6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buClr>
                  <a:schemeClr val="tx1"/>
                </a:buClr>
                <a:buSzPct val="90000"/>
              </a:pPr>
              <a:r>
                <a:rPr lang="pt-PT" altLang="pt-PT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olidação</a:t>
              </a:r>
            </a:p>
          </p:txBody>
        </p:sp>
        <p:sp>
          <p:nvSpPr>
            <p:cNvPr id="16" name="Rectangle 77"/>
            <p:cNvSpPr>
              <a:spLocks noChangeAspect="1" noChangeArrowheads="1"/>
            </p:cNvSpPr>
            <p:nvPr/>
          </p:nvSpPr>
          <p:spPr bwMode="auto">
            <a:xfrm>
              <a:off x="2682283" y="2524672"/>
              <a:ext cx="1893016" cy="117173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0000" tIns="46800" rIns="90000" bIns="46800">
              <a:spAutoFit/>
            </a:bodyPr>
            <a:lstStyle>
              <a:lvl1pPr marL="7938" indent="-7938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87438" indent="-45720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724025" indent="-4572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2360613" indent="-4572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997200" indent="-4572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3454400" indent="-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3911600" indent="-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4368800" indent="-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4826000" indent="-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chemeClr val="tx1"/>
                </a:buClr>
                <a:buSzPct val="90000"/>
              </a:pPr>
              <a:r>
                <a:rPr lang="pt-PT" altLang="pt-PT" sz="1400" dirty="0" smtClean="0">
                  <a:cs typeface="Arial" panose="020B0604020202020204" pitchFamily="34" charset="0"/>
                </a:rPr>
                <a:t>Definir listas de valores de referência (domínio) e mapear as informações recolhidas</a:t>
              </a:r>
              <a:endParaRPr lang="pt-PT" altLang="pt-PT" sz="1400" dirty="0">
                <a:cs typeface="Arial" panose="020B0604020202020204" pitchFamily="34" charset="0"/>
              </a:endParaRPr>
            </a:p>
          </p:txBody>
        </p:sp>
      </p:grpSp>
      <p:cxnSp>
        <p:nvCxnSpPr>
          <p:cNvPr id="17" name="Straight Connector 16"/>
          <p:cNvCxnSpPr/>
          <p:nvPr/>
        </p:nvCxnSpPr>
        <p:spPr>
          <a:xfrm>
            <a:off x="2629525" y="1779662"/>
            <a:ext cx="0" cy="2016000"/>
          </a:xfrm>
          <a:prstGeom prst="line">
            <a:avLst/>
          </a:prstGeom>
          <a:solidFill>
            <a:srgbClr val="0099AB"/>
          </a:solidFill>
          <a:ln w="3175" algn="ctr">
            <a:solidFill>
              <a:srgbClr val="009AA6"/>
            </a:solidFill>
            <a:miter lim="800000"/>
            <a:headEnd/>
            <a:tailEnd/>
          </a:ln>
          <a:effectLst/>
        </p:spPr>
      </p:cxnSp>
      <p:grpSp>
        <p:nvGrpSpPr>
          <p:cNvPr id="28" name="Group 27"/>
          <p:cNvGrpSpPr/>
          <p:nvPr/>
        </p:nvGrpSpPr>
        <p:grpSpPr>
          <a:xfrm>
            <a:off x="4519242" y="1779662"/>
            <a:ext cx="1696682" cy="2016000"/>
            <a:chOff x="4480049" y="1923678"/>
            <a:chExt cx="1696682" cy="2016000"/>
          </a:xfrm>
          <a:solidFill>
            <a:srgbClr val="009AA6"/>
          </a:solidFill>
        </p:grpSpPr>
        <p:sp>
          <p:nvSpPr>
            <p:cNvPr id="19" name="AutoShape 3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480049" y="1923678"/>
              <a:ext cx="1696682" cy="540000"/>
            </a:xfrm>
            <a:prstGeom prst="homePlate">
              <a:avLst>
                <a:gd name="adj" fmla="val 21652"/>
              </a:avLst>
            </a:prstGeom>
            <a:grpFill/>
            <a:ln w="3175" algn="ctr">
              <a:solidFill>
                <a:srgbClr val="009AA6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buClr>
                  <a:schemeClr val="tx1"/>
                </a:buClr>
                <a:buSzPct val="90000"/>
              </a:pPr>
              <a:r>
                <a:rPr lang="pt-PT" altLang="pt-PT" sz="14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alidação</a:t>
              </a:r>
              <a:endParaRPr lang="pt-PT" altLang="pt-PT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Rectangle 41"/>
            <p:cNvSpPr>
              <a:spLocks noChangeAspect="1" noChangeArrowheads="1"/>
            </p:cNvSpPr>
            <p:nvPr/>
          </p:nvSpPr>
          <p:spPr bwMode="auto">
            <a:xfrm>
              <a:off x="4480049" y="2524672"/>
              <a:ext cx="1571011" cy="117173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0000" tIns="46800" rIns="90000" bIns="46800">
              <a:spAutoFit/>
            </a:bodyPr>
            <a:lstStyle/>
            <a:p>
              <a:pPr marL="7938" indent="-7938">
                <a:buClr>
                  <a:schemeClr val="tx1"/>
                </a:buClr>
                <a:buSzPct val="90000"/>
              </a:pPr>
              <a:r>
                <a:rPr lang="pt-PT" altLang="pt-PT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Validar listas de valores e mapeamentos consolidados </a:t>
              </a:r>
              <a:r>
                <a:rPr lang="pt-PT" altLang="pt-PT" sz="1400" dirty="0">
                  <a:latin typeface="Arial" panose="020B0604020202020204" pitchFamily="34" charset="0"/>
                  <a:cs typeface="Arial" panose="020B0604020202020204" pitchFamily="34" charset="0"/>
                </a:rPr>
                <a:t>n</a:t>
              </a:r>
              <a:r>
                <a:rPr lang="pt-PT" altLang="pt-PT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o </a:t>
              </a:r>
              <a:r>
                <a:rPr lang="pt-PT" altLang="pt-PT" sz="1400" dirty="0">
                  <a:latin typeface="Arial" panose="020B0604020202020204" pitchFamily="34" charset="0"/>
                  <a:cs typeface="Arial" panose="020B0604020202020204" pitchFamily="34" charset="0"/>
                </a:rPr>
                <a:t>processo anterior </a:t>
              </a:r>
            </a:p>
          </p:txBody>
        </p:sp>
        <p:cxnSp>
          <p:nvCxnSpPr>
            <p:cNvPr id="21" name="Straight Connector 20"/>
            <p:cNvCxnSpPr/>
            <p:nvPr/>
          </p:nvCxnSpPr>
          <p:spPr>
            <a:xfrm>
              <a:off x="4480049" y="1923678"/>
              <a:ext cx="0" cy="2016000"/>
            </a:xfrm>
            <a:prstGeom prst="line">
              <a:avLst/>
            </a:prstGeom>
            <a:grpFill/>
            <a:ln w="3175" algn="ctr">
              <a:solidFill>
                <a:srgbClr val="009AA6"/>
              </a:solidFill>
              <a:miter lim="800000"/>
              <a:headEnd/>
              <a:tailEnd/>
            </a:ln>
            <a:effectLst/>
          </p:spPr>
        </p:cxnSp>
      </p:grpSp>
      <p:grpSp>
        <p:nvGrpSpPr>
          <p:cNvPr id="29" name="Group 28"/>
          <p:cNvGrpSpPr/>
          <p:nvPr/>
        </p:nvGrpSpPr>
        <p:grpSpPr>
          <a:xfrm>
            <a:off x="6303410" y="1779662"/>
            <a:ext cx="1620151" cy="2016000"/>
            <a:chOff x="6264217" y="1923678"/>
            <a:chExt cx="1620151" cy="2016000"/>
          </a:xfrm>
          <a:solidFill>
            <a:srgbClr val="009AA6"/>
          </a:solidFill>
        </p:grpSpPr>
        <p:sp>
          <p:nvSpPr>
            <p:cNvPr id="23" name="AutoShape 3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264217" y="1923678"/>
              <a:ext cx="1620151" cy="540000"/>
            </a:xfrm>
            <a:prstGeom prst="homePlate">
              <a:avLst>
                <a:gd name="adj" fmla="val 20675"/>
              </a:avLst>
            </a:prstGeom>
            <a:grpFill/>
            <a:ln w="3175" algn="ctr">
              <a:solidFill>
                <a:srgbClr val="009AA6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buClr>
                  <a:schemeClr val="tx1"/>
                </a:buClr>
                <a:buSzPct val="90000"/>
              </a:pPr>
              <a:r>
                <a:rPr lang="pt-PT" altLang="pt-PT" sz="14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ponibilização</a:t>
              </a:r>
              <a:endParaRPr lang="pt-PT" altLang="pt-PT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Rectangle 42"/>
            <p:cNvSpPr>
              <a:spLocks noChangeAspect="1" noChangeArrowheads="1"/>
            </p:cNvSpPr>
            <p:nvPr/>
          </p:nvSpPr>
          <p:spPr bwMode="auto">
            <a:xfrm>
              <a:off x="6266978" y="2524672"/>
              <a:ext cx="1550464" cy="117173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0000" tIns="46800" rIns="90000" bIns="46800">
              <a:spAutoFit/>
            </a:bodyPr>
            <a:lstStyle/>
            <a:p>
              <a:pPr marL="7938" indent="-7938">
                <a:buClr>
                  <a:schemeClr val="tx1"/>
                </a:buClr>
                <a:buSzPct val="90000"/>
              </a:pPr>
              <a:r>
                <a:rPr lang="pt-PT" altLang="pt-PT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Elaborar e disponibilizar as </a:t>
              </a:r>
              <a:r>
                <a:rPr lang="pt-PT" altLang="pt-PT" sz="1400" dirty="0">
                  <a:latin typeface="Arial" panose="020B0604020202020204" pitchFamily="34" charset="0"/>
                  <a:cs typeface="Arial" panose="020B0604020202020204" pitchFamily="34" charset="0"/>
                </a:rPr>
                <a:t>listas de valores e mapeamentos </a:t>
              </a:r>
              <a:r>
                <a:rPr lang="pt-PT" altLang="pt-PT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atualizados</a:t>
              </a:r>
              <a:endParaRPr lang="pt-PT" altLang="pt-PT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5" name="Straight Connector 24"/>
            <p:cNvCxnSpPr/>
            <p:nvPr/>
          </p:nvCxnSpPr>
          <p:spPr>
            <a:xfrm>
              <a:off x="6264217" y="1923678"/>
              <a:ext cx="0" cy="2016000"/>
            </a:xfrm>
            <a:prstGeom prst="line">
              <a:avLst/>
            </a:prstGeom>
            <a:grpFill/>
            <a:ln w="3175" algn="ctr">
              <a:solidFill>
                <a:srgbClr val="009AA6"/>
              </a:solidFill>
              <a:miter lim="800000"/>
              <a:headEnd/>
              <a:tailEnd/>
            </a:ln>
            <a:effectLst/>
          </p:spPr>
        </p:cxnSp>
      </p:grpSp>
      <p:sp>
        <p:nvSpPr>
          <p:cNvPr id="22" name="Rectangle 2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7544" y="4659982"/>
            <a:ext cx="7384009" cy="186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7800" indent="317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2072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>
              <a:buNone/>
            </a:pPr>
            <a:r>
              <a:rPr lang="pt-BR" altLang="pt-PT" sz="1100" b="1" i="1" dirty="0" smtClean="0">
                <a:solidFill>
                  <a:srgbClr val="000000"/>
                </a:solidFill>
              </a:rPr>
              <a:t>Nota</a:t>
            </a:r>
            <a:r>
              <a:rPr lang="pt-BR" altLang="pt-PT" sz="1100" dirty="0" smtClean="0">
                <a:solidFill>
                  <a:srgbClr val="000000"/>
                </a:solidFill>
              </a:rPr>
              <a:t>: O fluxo deste processo pode ser consultado em detalhe no modelo de governança de </a:t>
            </a:r>
            <a:r>
              <a:rPr lang="pt-BR" altLang="pt-PT" sz="1100" i="1" dirty="0" smtClean="0">
                <a:solidFill>
                  <a:srgbClr val="000000"/>
                </a:solidFill>
              </a:rPr>
              <a:t>Reference Data</a:t>
            </a:r>
            <a:r>
              <a:rPr lang="pt-BR" altLang="pt-PT" sz="1100" dirty="0" smtClean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30" name="Texto explicativo em seta para a direita 29"/>
          <p:cNvSpPr/>
          <p:nvPr/>
        </p:nvSpPr>
        <p:spPr>
          <a:xfrm>
            <a:off x="506737" y="3867894"/>
            <a:ext cx="1191321" cy="432048"/>
          </a:xfrm>
          <a:prstGeom prst="rightArrowCallout">
            <a:avLst>
              <a:gd name="adj1" fmla="val 50000"/>
              <a:gd name="adj2" fmla="val 25000"/>
              <a:gd name="adj3" fmla="val 46402"/>
              <a:gd name="adj4" fmla="val 71605"/>
            </a:avLst>
          </a:prstGeom>
          <a:ln cap="rnd"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bg1"/>
                </a:solidFill>
              </a:rPr>
              <a:t>Modelo Canônico</a:t>
            </a:r>
          </a:p>
          <a:p>
            <a:pPr algn="ctr"/>
            <a:r>
              <a:rPr lang="pt-BR" sz="1000" dirty="0" smtClean="0">
                <a:solidFill>
                  <a:schemeClr val="bg1"/>
                </a:solidFill>
              </a:rPr>
              <a:t>(Projeto)</a:t>
            </a:r>
            <a:endParaRPr lang="pt-BR" sz="1000" dirty="0">
              <a:solidFill>
                <a:schemeClr val="bg1"/>
              </a:solidFill>
            </a:endParaRPr>
          </a:p>
        </p:txBody>
      </p:sp>
      <p:sp>
        <p:nvSpPr>
          <p:cNvPr id="32" name="Texto explicativo em seta para a direita 31"/>
          <p:cNvSpPr/>
          <p:nvPr/>
        </p:nvSpPr>
        <p:spPr>
          <a:xfrm>
            <a:off x="1698058" y="3867894"/>
            <a:ext cx="1805726" cy="288032"/>
          </a:xfrm>
          <a:prstGeom prst="rightArrowCallout">
            <a:avLst>
              <a:gd name="adj1" fmla="val 25000"/>
              <a:gd name="adj2" fmla="val 25000"/>
              <a:gd name="adj3" fmla="val 46402"/>
              <a:gd name="adj4" fmla="val 87730"/>
            </a:avLst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00" dirty="0"/>
          </a:p>
        </p:txBody>
      </p:sp>
      <p:sp>
        <p:nvSpPr>
          <p:cNvPr id="34" name="Texto explicativo em seta para a direita 33"/>
          <p:cNvSpPr/>
          <p:nvPr/>
        </p:nvSpPr>
        <p:spPr>
          <a:xfrm>
            <a:off x="1770066" y="3939902"/>
            <a:ext cx="1805726" cy="288032"/>
          </a:xfrm>
          <a:prstGeom prst="rightArrowCallout">
            <a:avLst>
              <a:gd name="adj1" fmla="val 25000"/>
              <a:gd name="adj2" fmla="val 25000"/>
              <a:gd name="adj3" fmla="val 46402"/>
              <a:gd name="adj4" fmla="val 87730"/>
            </a:avLst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00" dirty="0"/>
          </a:p>
        </p:txBody>
      </p:sp>
      <p:sp>
        <p:nvSpPr>
          <p:cNvPr id="35" name="Texto explicativo em seta para a direita 34"/>
          <p:cNvSpPr/>
          <p:nvPr/>
        </p:nvSpPr>
        <p:spPr>
          <a:xfrm>
            <a:off x="1842074" y="4011910"/>
            <a:ext cx="1805726" cy="288032"/>
          </a:xfrm>
          <a:prstGeom prst="rightArrowCallout">
            <a:avLst>
              <a:gd name="adj1" fmla="val 25000"/>
              <a:gd name="adj2" fmla="val 25000"/>
              <a:gd name="adj3" fmla="val 46402"/>
              <a:gd name="adj4" fmla="val 87730"/>
            </a:avLst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bg1"/>
                </a:solidFill>
              </a:rPr>
              <a:t>Levantamento(Sistema) </a:t>
            </a:r>
            <a:r>
              <a:rPr lang="pt-BR" sz="1000" dirty="0" err="1" smtClean="0">
                <a:solidFill>
                  <a:schemeClr val="bg1"/>
                </a:solidFill>
              </a:rPr>
              <a:t>Reference</a:t>
            </a:r>
            <a:r>
              <a:rPr lang="pt-BR" sz="1000" dirty="0" smtClean="0">
                <a:solidFill>
                  <a:schemeClr val="bg1"/>
                </a:solidFill>
              </a:rPr>
              <a:t> Data</a:t>
            </a:r>
            <a:endParaRPr lang="pt-BR" sz="1000" dirty="0">
              <a:solidFill>
                <a:schemeClr val="bg1"/>
              </a:solidFill>
            </a:endParaRPr>
          </a:p>
        </p:txBody>
      </p:sp>
      <p:sp>
        <p:nvSpPr>
          <p:cNvPr id="36" name="Texto explicativo em seta para a direita 35"/>
          <p:cNvSpPr/>
          <p:nvPr/>
        </p:nvSpPr>
        <p:spPr>
          <a:xfrm>
            <a:off x="3647800" y="3867894"/>
            <a:ext cx="2298730" cy="432048"/>
          </a:xfrm>
          <a:prstGeom prst="rightArrowCallout">
            <a:avLst>
              <a:gd name="adj1" fmla="val 25000"/>
              <a:gd name="adj2" fmla="val 25000"/>
              <a:gd name="adj3" fmla="val 46402"/>
              <a:gd name="adj4" fmla="val 86289"/>
            </a:avLst>
          </a:prstGeom>
          <a:ln cap="rnd"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bg1"/>
                </a:solidFill>
              </a:rPr>
              <a:t>Consolidação (Projeto) de </a:t>
            </a:r>
            <a:r>
              <a:rPr lang="pt-BR" sz="1000" dirty="0" err="1" smtClean="0">
                <a:solidFill>
                  <a:schemeClr val="bg1"/>
                </a:solidFill>
              </a:rPr>
              <a:t>Reference</a:t>
            </a:r>
            <a:r>
              <a:rPr lang="pt-BR" sz="1000" dirty="0" smtClean="0">
                <a:solidFill>
                  <a:schemeClr val="bg1"/>
                </a:solidFill>
              </a:rPr>
              <a:t> Data</a:t>
            </a:r>
            <a:endParaRPr lang="pt-BR" sz="1000" dirty="0">
              <a:solidFill>
                <a:schemeClr val="bg1"/>
              </a:solidFill>
            </a:endParaRPr>
          </a:p>
        </p:txBody>
      </p:sp>
      <p:sp>
        <p:nvSpPr>
          <p:cNvPr id="37" name="Retângulo de cantos arredondados 36"/>
          <p:cNvSpPr/>
          <p:nvPr/>
        </p:nvSpPr>
        <p:spPr>
          <a:xfrm>
            <a:off x="5946531" y="3867894"/>
            <a:ext cx="2121046" cy="473540"/>
          </a:xfrm>
          <a:prstGeom prst="round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err="1" smtClean="0">
                <a:solidFill>
                  <a:schemeClr val="bg1"/>
                </a:solidFill>
              </a:rPr>
              <a:t>Reference</a:t>
            </a:r>
            <a:r>
              <a:rPr lang="pt-BR" sz="1200" dirty="0" smtClean="0">
                <a:solidFill>
                  <a:schemeClr val="bg1"/>
                </a:solidFill>
              </a:rPr>
              <a:t> Data Oi</a:t>
            </a:r>
          </a:p>
          <a:p>
            <a:pPr algn="ctr"/>
            <a:r>
              <a:rPr lang="pt-BR" sz="1200" dirty="0" smtClean="0">
                <a:solidFill>
                  <a:schemeClr val="bg1"/>
                </a:solidFill>
              </a:rPr>
              <a:t>Dicionário de Entidades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31" name="TextBox 67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Implementando o Modelo Canônico</a:t>
            </a:r>
            <a:br>
              <a:rPr lang="pt-BR" b="1" dirty="0">
                <a:solidFill>
                  <a:srgbClr val="009AA6"/>
                </a:solidFill>
                <a:latin typeface="Arial"/>
                <a:cs typeface="Arial"/>
              </a:rPr>
            </a:br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Metodologia para os Dados de Referência</a:t>
            </a:r>
            <a:endParaRPr lang="pt-PT" i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38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rial" pitchFamily="34" charset="0"/>
              </a:rPr>
              <a:pPr algn="r"/>
              <a:t>26</a:t>
            </a:fld>
            <a:endParaRPr lang="pt-BR" sz="900" b="1" dirty="0">
              <a:solidFill>
                <a:prstClr val="black">
                  <a:tint val="7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1320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27</a:t>
            </a:fld>
            <a:endParaRPr lang="pt-BR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272378"/>
            <a:ext cx="1830593" cy="3508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Espaço Reservado para Conteúdo 3"/>
          <p:cNvSpPr txBox="1">
            <a:spLocks/>
          </p:cNvSpPr>
          <p:nvPr/>
        </p:nvSpPr>
        <p:spPr>
          <a:xfrm>
            <a:off x="2699792" y="1275606"/>
            <a:ext cx="5976664" cy="3171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As </a:t>
            </a:r>
            <a:r>
              <a:rPr lang="pt-BR" dirty="0"/>
              <a:t>e</a:t>
            </a:r>
            <a:r>
              <a:rPr lang="pt-BR" dirty="0" smtClean="0"/>
              <a:t>quipas </a:t>
            </a:r>
            <a:r>
              <a:rPr lang="pt-BR" dirty="0" smtClean="0"/>
              <a:t>de </a:t>
            </a:r>
            <a:r>
              <a:rPr lang="pt-BR" b="1" dirty="0" smtClean="0"/>
              <a:t>Arquitetura </a:t>
            </a:r>
            <a:r>
              <a:rPr lang="pt-BR" dirty="0" smtClean="0"/>
              <a:t>e</a:t>
            </a:r>
            <a:r>
              <a:rPr lang="pt-BR" b="1" dirty="0" smtClean="0"/>
              <a:t> Integração </a:t>
            </a:r>
            <a:r>
              <a:rPr lang="pt-BR" dirty="0" smtClean="0"/>
              <a:t>participarão nestas etapas do </a:t>
            </a:r>
            <a:r>
              <a:rPr lang="pt-BR" b="1" dirty="0"/>
              <a:t>P</a:t>
            </a:r>
            <a:r>
              <a:rPr lang="pt-BR" b="1" dirty="0" smtClean="0"/>
              <a:t>rocesso </a:t>
            </a:r>
            <a:r>
              <a:rPr lang="pt-BR" dirty="0" smtClean="0"/>
              <a:t>como </a:t>
            </a:r>
            <a:r>
              <a:rPr lang="pt-BR" dirty="0" smtClean="0"/>
              <a:t>garante da rastreabilidade dos dados corporativos fim-a-fim na solução de Integração. </a:t>
            </a:r>
            <a:endParaRPr lang="pt-BR" dirty="0" smtClean="0"/>
          </a:p>
          <a:p>
            <a:endParaRPr lang="pt-BR" dirty="0"/>
          </a:p>
          <a:p>
            <a:r>
              <a:rPr lang="pt-BR" dirty="0" smtClean="0"/>
              <a:t>Isto </a:t>
            </a:r>
            <a:r>
              <a:rPr lang="pt-BR" dirty="0" smtClean="0"/>
              <a:t>é realizado pela:</a:t>
            </a: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r>
              <a:rPr lang="pt-BR" dirty="0" smtClean="0">
                <a:latin typeface="Myriad Pro" pitchFamily="34" charset="0"/>
              </a:rPr>
              <a:t>Identificação do Modelo de Dados do projeto e definição </a:t>
            </a:r>
            <a:r>
              <a:rPr lang="pt-BR" dirty="0">
                <a:latin typeface="Myriad Pro" pitchFamily="34" charset="0"/>
              </a:rPr>
              <a:t>do Modelo </a:t>
            </a:r>
            <a:r>
              <a:rPr lang="pt-BR" dirty="0" smtClean="0">
                <a:latin typeface="Myriad Pro" pitchFamily="34" charset="0"/>
              </a:rPr>
              <a:t>Canônico usado no projeto;</a:t>
            </a:r>
            <a:endParaRPr lang="pt-BR" dirty="0">
              <a:latin typeface="Myriad Pro" pitchFamily="34" charset="0"/>
            </a:endParaRP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r>
              <a:rPr lang="pt-BR" dirty="0">
                <a:latin typeface="Myriad Pro" pitchFamily="34" charset="0"/>
              </a:rPr>
              <a:t>Identificação e Definição dos Dados de Referência do projeto;</a:t>
            </a: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r>
              <a:rPr lang="pt-PT" dirty="0">
                <a:latin typeface="Myriad Pro" pitchFamily="34" charset="0"/>
              </a:rPr>
              <a:t>Governança do Modelo Canônico Corporativo e Dados de Referência</a:t>
            </a:r>
            <a:r>
              <a:rPr lang="pt-PT" dirty="0" smtClean="0">
                <a:latin typeface="Myriad Pro" pitchFamily="34" charset="0"/>
              </a:rPr>
              <a:t>;</a:t>
            </a: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endParaRPr lang="pt-PT" dirty="0" smtClean="0">
              <a:latin typeface="Myriad Pro" pitchFamily="34" charset="0"/>
            </a:endParaRPr>
          </a:p>
          <a:p>
            <a:pPr algn="just" eaLnBrk="0" hangingPunct="0">
              <a:spcBef>
                <a:spcPts val="336"/>
              </a:spcBef>
            </a:pPr>
            <a:r>
              <a:rPr lang="pt-PT" dirty="0" smtClean="0">
                <a:latin typeface="Myriad Pro" pitchFamily="34" charset="0"/>
              </a:rPr>
              <a:t>Estas atividades servirão de base para a </a:t>
            </a:r>
            <a:r>
              <a:rPr lang="pt-PT" b="1" dirty="0" smtClean="0">
                <a:latin typeface="Myriad Pro" pitchFamily="34" charset="0"/>
              </a:rPr>
              <a:t>Modelação do Modelo de Integração Online</a:t>
            </a:r>
            <a:r>
              <a:rPr lang="pt-PT" dirty="0" smtClean="0">
                <a:latin typeface="Myriad Pro" pitchFamily="34" charset="0"/>
              </a:rPr>
              <a:t> das Entidades usadas na Arquitetura de Serviços.</a:t>
            </a:r>
            <a:endParaRPr lang="pt-PT" dirty="0">
              <a:latin typeface="Myriad Pro" pitchFamily="34" charset="0"/>
            </a:endParaRPr>
          </a:p>
        </p:txBody>
      </p:sp>
      <p:sp>
        <p:nvSpPr>
          <p:cNvPr id="7" name="TextBox 67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Implementando o Modelo Canônico</a:t>
            </a:r>
            <a:br>
              <a:rPr lang="pt-BR" b="1" dirty="0">
                <a:solidFill>
                  <a:srgbClr val="009AA6"/>
                </a:solidFill>
                <a:latin typeface="Arial"/>
                <a:cs typeface="Arial"/>
              </a:rPr>
            </a:br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Executando a Metodologia no Processo GSOA</a:t>
            </a:r>
            <a:endParaRPr lang="pt-PT" i="1" dirty="0">
              <a:solidFill>
                <a:srgbClr val="009AA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43672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7544" y="1347614"/>
            <a:ext cx="8136706" cy="2490329"/>
          </a:xfrm>
          <a:prstGeom prst="roundRect">
            <a:avLst>
              <a:gd name="adj" fmla="val 7329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4513" indent="-188913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ClrTx/>
              <a:buNone/>
            </a:pPr>
            <a:r>
              <a:rPr lang="pt-PT" dirty="0" smtClean="0"/>
              <a:t>Em âmbito de projeto é </a:t>
            </a:r>
            <a:r>
              <a:rPr lang="pt-PT" dirty="0"/>
              <a:t>da </a:t>
            </a:r>
            <a:r>
              <a:rPr lang="pt-PT" b="1" dirty="0"/>
              <a:t>responsabilidade </a:t>
            </a:r>
            <a:r>
              <a:rPr lang="pt-PT" b="1" dirty="0" smtClean="0"/>
              <a:t>dos </a:t>
            </a:r>
            <a:r>
              <a:rPr lang="pt-PT" b="1" dirty="0"/>
              <a:t>sistemas </a:t>
            </a:r>
            <a:r>
              <a:rPr lang="pt-PT" dirty="0"/>
              <a:t>mapearem </a:t>
            </a:r>
            <a:r>
              <a:rPr lang="pt-PT" dirty="0" smtClean="0"/>
              <a:t>os seus modelos </a:t>
            </a:r>
            <a:r>
              <a:rPr lang="pt-PT" dirty="0"/>
              <a:t>de dados </a:t>
            </a:r>
            <a:r>
              <a:rPr lang="pt-PT" dirty="0" smtClean="0"/>
              <a:t>ao modelo </a:t>
            </a:r>
            <a:r>
              <a:rPr lang="pt-PT" dirty="0"/>
              <a:t>de dados </a:t>
            </a:r>
            <a:r>
              <a:rPr lang="pt-PT" dirty="0" smtClean="0"/>
              <a:t>canônico.</a:t>
            </a:r>
          </a:p>
          <a:p>
            <a:pPr>
              <a:spcBef>
                <a:spcPct val="10000"/>
              </a:spcBef>
              <a:spcAft>
                <a:spcPct val="10000"/>
              </a:spcAft>
              <a:buClrTx/>
              <a:buNone/>
            </a:pPr>
            <a:endParaRPr lang="pt-PT" dirty="0"/>
          </a:p>
          <a:p>
            <a:pPr>
              <a:spcBef>
                <a:spcPct val="10000"/>
              </a:spcBef>
              <a:spcAft>
                <a:spcPct val="10000"/>
              </a:spcAft>
              <a:buClrTx/>
              <a:buNone/>
            </a:pPr>
            <a:r>
              <a:rPr lang="pt-PT" dirty="0" smtClean="0"/>
              <a:t>Em caso de entidades e/ou atributos não existentes no modelo canônico, a equipa de projeto </a:t>
            </a:r>
            <a:r>
              <a:rPr lang="pt-PT" b="1" dirty="0" smtClean="0"/>
              <a:t>deverá propor o conceito canônico </a:t>
            </a:r>
            <a:r>
              <a:rPr lang="pt-PT" dirty="0" smtClean="0"/>
              <a:t>a criar, tendo em consideração as melhores </a:t>
            </a:r>
            <a:r>
              <a:rPr lang="pt-PT" dirty="0" smtClean="0"/>
              <a:t>práticas de modelagem do Modelo Corporativo de Dados.</a:t>
            </a:r>
            <a:endParaRPr lang="pt-PT" dirty="0"/>
          </a:p>
          <a:p>
            <a:pPr>
              <a:spcBef>
                <a:spcPct val="10000"/>
              </a:spcBef>
              <a:spcAft>
                <a:spcPct val="10000"/>
              </a:spcAft>
              <a:buClrTx/>
              <a:buNone/>
            </a:pPr>
            <a:endParaRPr lang="pt-PT" dirty="0" smtClean="0"/>
          </a:p>
          <a:p>
            <a:pPr>
              <a:spcBef>
                <a:spcPct val="10000"/>
              </a:spcBef>
              <a:spcAft>
                <a:spcPct val="10000"/>
              </a:spcAft>
              <a:buClrTx/>
              <a:buNone/>
            </a:pPr>
            <a:r>
              <a:rPr lang="pt-PT" dirty="0" smtClean="0"/>
              <a:t>Deverá ser tido em consideração que os atributos balizados </a:t>
            </a:r>
            <a:r>
              <a:rPr lang="pt-PT" dirty="0"/>
              <a:t>por uma </a:t>
            </a:r>
            <a:r>
              <a:rPr lang="pt-PT" b="1" dirty="0"/>
              <a:t>lista de valores </a:t>
            </a:r>
            <a:r>
              <a:rPr lang="pt-PT" dirty="0" smtClean="0"/>
              <a:t>deverão </a:t>
            </a:r>
            <a:r>
              <a:rPr lang="pt-PT" dirty="0"/>
              <a:t>adotar os valores de referência </a:t>
            </a:r>
            <a:r>
              <a:rPr lang="pt-PT" dirty="0" smtClean="0"/>
              <a:t>corporativos ou alinhados </a:t>
            </a:r>
            <a:r>
              <a:rPr lang="pt-PT" dirty="0"/>
              <a:t>ao mestre de </a:t>
            </a:r>
            <a:r>
              <a:rPr lang="pt-PT" dirty="0" smtClean="0"/>
              <a:t>informação</a:t>
            </a:r>
            <a:r>
              <a:rPr lang="pt-PT" dirty="0" smtClean="0"/>
              <a:t>.</a:t>
            </a:r>
            <a:endParaRPr lang="pt-PT" dirty="0" smtClean="0"/>
          </a:p>
        </p:txBody>
      </p:sp>
      <p:sp>
        <p:nvSpPr>
          <p:cNvPr id="5" name="TextBox 67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Implementando o Modelo Canônico</a:t>
            </a:r>
            <a:br>
              <a:rPr lang="pt-BR" b="1" dirty="0">
                <a:solidFill>
                  <a:srgbClr val="009AA6"/>
                </a:solidFill>
                <a:latin typeface="Arial"/>
                <a:cs typeface="Arial"/>
              </a:rPr>
            </a:br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Responsabilidades dos Sistemas (e/ou) Aplicações</a:t>
            </a:r>
            <a:endParaRPr lang="pt-PT" i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6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28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0761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32547" y="1131590"/>
            <a:ext cx="8459933" cy="588216"/>
          </a:xfrm>
          <a:prstGeom prst="roundRect">
            <a:avLst>
              <a:gd name="adj" fmla="val 7329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4513" indent="-188913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ClrTx/>
              <a:buNone/>
            </a:pPr>
            <a:r>
              <a:rPr lang="pt-BR" dirty="0"/>
              <a:t>A </a:t>
            </a:r>
            <a:r>
              <a:rPr lang="pt-BR" b="1" dirty="0"/>
              <a:t>governança dos dados </a:t>
            </a:r>
            <a:r>
              <a:rPr lang="pt-BR" dirty="0"/>
              <a:t>que trafegam na Arquitetura de Serviços é </a:t>
            </a:r>
            <a:r>
              <a:rPr lang="pt-BR" dirty="0" smtClean="0"/>
              <a:t>então uma </a:t>
            </a:r>
            <a:r>
              <a:rPr lang="pt-BR" dirty="0" smtClean="0"/>
              <a:t>necessidade importante </a:t>
            </a:r>
            <a:r>
              <a:rPr lang="pt-BR" dirty="0"/>
              <a:t>para a Arquitetura de </a:t>
            </a:r>
            <a:r>
              <a:rPr lang="pt-BR" dirty="0" smtClean="0"/>
              <a:t>Serviços</a:t>
            </a:r>
            <a:r>
              <a:rPr lang="pt-PT" dirty="0" smtClean="0">
                <a:solidFill>
                  <a:srgbClr val="000000"/>
                </a:solidFill>
              </a:rPr>
              <a:t>:</a:t>
            </a:r>
            <a:endParaRPr lang="pt-PT" altLang="pt-PT" dirty="0">
              <a:solidFill>
                <a:srgbClr val="000000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005104" y="1803570"/>
            <a:ext cx="4572704" cy="6057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BR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pt-BR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ão Macro do Modelo Canônico </a:t>
            </a:r>
            <a:r>
              <a:rPr lang="pt-BR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 uma visão de alto nível das entidades de negócio, </a:t>
            </a:r>
            <a:r>
              <a:rPr lang="pt-PT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reve </a:t>
            </a:r>
            <a:r>
              <a:rPr lang="pt-P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conceito e as suas associações.</a:t>
            </a:r>
          </a:p>
        </p:txBody>
      </p:sp>
      <p:pic>
        <p:nvPicPr>
          <p:cNvPr id="13" name="Picture 2" descr="http://www.ibm.com/developerworks/rational/library/content/03July/2000/2428/2428_fig7.jpg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923" y="1803577"/>
            <a:ext cx="2958160" cy="2856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Pentagon 33"/>
          <p:cNvSpPr/>
          <p:nvPr/>
        </p:nvSpPr>
        <p:spPr>
          <a:xfrm>
            <a:off x="512912" y="1815520"/>
            <a:ext cx="3383173" cy="1284194"/>
          </a:xfrm>
          <a:prstGeom prst="homePlate">
            <a:avLst>
              <a:gd name="adj" fmla="val 16097"/>
            </a:avLst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endParaRPr lang="pt-BR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entagon 33"/>
          <p:cNvSpPr/>
          <p:nvPr/>
        </p:nvSpPr>
        <p:spPr>
          <a:xfrm>
            <a:off x="512912" y="3171722"/>
            <a:ext cx="3383173" cy="1488260"/>
          </a:xfrm>
          <a:prstGeom prst="homePlate">
            <a:avLst>
              <a:gd name="adj" fmla="val 14026"/>
            </a:avLst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endParaRPr lang="pt-BR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34"/>
          <p:cNvSpPr/>
          <p:nvPr/>
        </p:nvSpPr>
        <p:spPr>
          <a:xfrm>
            <a:off x="4005104" y="3171722"/>
            <a:ext cx="4572704" cy="744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Os </a:t>
            </a:r>
            <a:r>
              <a:rPr lang="pt-PT" sz="1200" b="1" dirty="0" smtClean="0">
                <a:solidFill>
                  <a:schemeClr val="tx1"/>
                </a:solidFill>
                <a:latin typeface="Myriad Pro" pitchFamily="34" charset="0"/>
              </a:rPr>
              <a:t>Modelos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de </a:t>
            </a:r>
            <a:r>
              <a:rPr lang="pt-PT" sz="1200" b="1" dirty="0" smtClean="0">
                <a:solidFill>
                  <a:schemeClr val="tx1"/>
                </a:solidFill>
                <a:latin typeface="Myriad Pro" pitchFamily="34" charset="0"/>
              </a:rPr>
              <a:t>Integração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irão traduzir técnicamente </a:t>
            </a:r>
            <a:r>
              <a:rPr lang="pt-PT" sz="1200" dirty="0">
                <a:solidFill>
                  <a:schemeClr val="tx1"/>
                </a:solidFill>
                <a:latin typeface="Myriad Pro" pitchFamily="34" charset="0"/>
              </a:rPr>
              <a:t>a representação do modelo de dados canónico numa determinada plataforma ou mecanismo de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integração (Online e Batch).</a:t>
            </a:r>
          </a:p>
        </p:txBody>
      </p:sp>
      <p:sp>
        <p:nvSpPr>
          <p:cNvPr id="17" name="Rectangle 34"/>
          <p:cNvSpPr/>
          <p:nvPr/>
        </p:nvSpPr>
        <p:spPr>
          <a:xfrm>
            <a:off x="4005104" y="2451642"/>
            <a:ext cx="4572704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BR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</a:t>
            </a:r>
            <a:r>
              <a:rPr lang="pt-BR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o Canônico </a:t>
            </a:r>
            <a:r>
              <a:rPr lang="pt-BR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e funcionalmente as entidades e os seus atributos, indicando as respetivas características e diferentes associações com os sistemas que as realizam.</a:t>
            </a:r>
            <a:endParaRPr lang="pt-PT" sz="1200" b="1" dirty="0">
              <a:latin typeface="Myriad Pro" pitchFamily="34" charset="0"/>
            </a:endParaRPr>
          </a:p>
        </p:txBody>
      </p:sp>
      <p:sp>
        <p:nvSpPr>
          <p:cNvPr id="18" name="Rectangle 34"/>
          <p:cNvSpPr/>
          <p:nvPr/>
        </p:nvSpPr>
        <p:spPr>
          <a:xfrm>
            <a:off x="4005104" y="3975760"/>
            <a:ext cx="4572704" cy="6842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As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Especificações de Serviço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ou/e</a:t>
            </a:r>
            <a:r>
              <a:rPr lang="pt-PT" sz="1200" b="1" dirty="0" smtClean="0">
                <a:solidFill>
                  <a:schemeClr val="tx1"/>
                </a:solidFill>
                <a:latin typeface="Myriad Pro" pitchFamily="34" charset="0"/>
              </a:rPr>
              <a:t>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Interface </a:t>
            </a:r>
            <a:r>
              <a:rPr lang="pt-PT" sz="1200" dirty="0">
                <a:solidFill>
                  <a:schemeClr val="tx1"/>
                </a:solidFill>
                <a:latin typeface="Myriad Pro" pitchFamily="34" charset="0"/>
              </a:rPr>
              <a:t>identificam o mapeamento entre as diferentes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mensagens</a:t>
            </a:r>
            <a:r>
              <a:rPr lang="pt-PT" sz="1200" dirty="0">
                <a:solidFill>
                  <a:schemeClr val="tx1"/>
                </a:solidFill>
                <a:latin typeface="Myriad Pro" pitchFamily="34" charset="0"/>
              </a:rPr>
              <a:t> utilizadas pelos Interfaces de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Sistema utilizando o Modelo Canônico como base. </a:t>
            </a:r>
            <a:endParaRPr lang="pt-BR" sz="1200" dirty="0">
              <a:solidFill>
                <a:schemeClr val="tx1"/>
              </a:solidFill>
            </a:endParaRPr>
          </a:p>
        </p:txBody>
      </p:sp>
      <p:sp>
        <p:nvSpPr>
          <p:cNvPr id="19" name="Rectangle 2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>
            <a:off x="3090901" y="2363905"/>
            <a:ext cx="1080120" cy="187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7800" indent="317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2072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algn="ctr">
              <a:buNone/>
            </a:pPr>
            <a:r>
              <a:rPr lang="pt-BR" altLang="pt-PT" sz="1200" b="1" dirty="0" smtClean="0">
                <a:solidFill>
                  <a:srgbClr val="000000"/>
                </a:solidFill>
              </a:rPr>
              <a:t>Canônico</a:t>
            </a:r>
          </a:p>
        </p:txBody>
      </p:sp>
      <p:sp>
        <p:nvSpPr>
          <p:cNvPr id="20" name="Rectangle 2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>
            <a:off x="3119500" y="3762086"/>
            <a:ext cx="1080120" cy="187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7800" indent="317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2072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algn="ctr">
              <a:buNone/>
            </a:pPr>
            <a:r>
              <a:rPr lang="pt-BR" altLang="pt-PT" sz="1200" b="1" dirty="0" smtClean="0">
                <a:solidFill>
                  <a:srgbClr val="000000"/>
                </a:solidFill>
              </a:rPr>
              <a:t>Integração</a:t>
            </a:r>
          </a:p>
        </p:txBody>
      </p:sp>
      <p:sp>
        <p:nvSpPr>
          <p:cNvPr id="4" name="Seta para cima e para baixo 3"/>
          <p:cNvSpPr/>
          <p:nvPr/>
        </p:nvSpPr>
        <p:spPr>
          <a:xfrm>
            <a:off x="8577808" y="1767420"/>
            <a:ext cx="314672" cy="2844462"/>
          </a:xfrm>
          <a:prstGeom prst="up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PT" dirty="0"/>
              <a:t>Implementando o Modelo Canônico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Dados na Arquitetura de Serviços (SOA)</a:t>
            </a:r>
            <a:endParaRPr lang="pt-BR" b="0" i="1" dirty="0"/>
          </a:p>
        </p:txBody>
      </p:sp>
      <p:sp>
        <p:nvSpPr>
          <p:cNvPr id="21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29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6390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8813569"/>
              </p:ext>
            </p:extLst>
          </p:nvPr>
        </p:nvGraphicFramePr>
        <p:xfrm>
          <a:off x="467544" y="1175638"/>
          <a:ext cx="8136904" cy="2291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40360"/>
                <a:gridCol w="4104456"/>
                <a:gridCol w="792088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</a:t>
                      </a:r>
                      <a:r>
                        <a:rPr lang="pt-BR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 Documento</a:t>
                      </a:r>
                      <a:endParaRPr lang="pt-BR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ção</a:t>
                      </a:r>
                      <a:endParaRPr lang="pt-BR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</a:t>
                      </a:r>
                      <a:endParaRPr lang="pt-BR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37624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i -</a:t>
                      </a:r>
                      <a:r>
                        <a:rPr lang="pt-BR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rquitetura de Ref. SOA </a:t>
                      </a:r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Blueprint </a:t>
                      </a:r>
                      <a:endParaRPr lang="pt-B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lueprint</a:t>
                      </a:r>
                      <a:r>
                        <a:rPr lang="pt-BR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 Arquitetura de Referência SOA</a:t>
                      </a:r>
                      <a:endParaRPr lang="pt-B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6</a:t>
                      </a:r>
                      <a:endParaRPr lang="pt-B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i – Arquitetura</a:t>
                      </a:r>
                      <a:r>
                        <a:rPr lang="pt-BR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 Serviços – Modelo de Governança</a:t>
                      </a:r>
                      <a:endParaRPr lang="pt-BR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são do novo processo de TI com as alterações efetuadas pela nova Governança SOA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1</a:t>
                      </a:r>
                      <a:endParaRPr lang="pt-BR" sz="1200" i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2103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i - Modelo Canônico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rodução ao conceito de Modelo Corporativo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 Dados e Modelo Canônico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0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i - Modelo Canônico - Melhores Práticas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oas práticas de Modelação de Dados para o Modelo Corporativo de Dados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0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ítulo 1"/>
          <p:cNvSpPr txBox="1">
            <a:spLocks/>
          </p:cNvSpPr>
          <p:nvPr/>
        </p:nvSpPr>
        <p:spPr>
          <a:xfrm>
            <a:off x="468296" y="330210"/>
            <a:ext cx="6768000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pt-BR" sz="1800" b="1" kern="120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9AA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ferências</a:t>
            </a:r>
            <a:endParaRPr kumimoji="0" lang="pt-BR" sz="1800" b="1" i="0" u="none" strike="noStrike" kern="1200" cap="none" spc="0" normalizeH="0" baseline="0" noProof="0" dirty="0">
              <a:ln>
                <a:noFill/>
              </a:ln>
              <a:solidFill>
                <a:srgbClr val="009AA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3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27105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/>
          <p:cNvSpPr>
            <a:spLocks noGrp="1"/>
          </p:cNvSpPr>
          <p:nvPr>
            <p:ph type="body" sz="quarter" idx="10"/>
          </p:nvPr>
        </p:nvSpPr>
        <p:spPr>
          <a:xfrm>
            <a:off x="824400" y="3402000"/>
            <a:ext cx="6843944" cy="954000"/>
          </a:xfrm>
        </p:spPr>
        <p:txBody>
          <a:bodyPr/>
          <a:lstStyle/>
          <a:p>
            <a:r>
              <a:rPr lang="pt-BR" dirty="0" smtClean="0"/>
              <a:t>Princípios &amp; Melhores Práticas </a:t>
            </a:r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2556714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srgbClr val="009AA6"/>
                </a:solidFill>
                <a:latin typeface="Arial"/>
                <a:cs typeface="Arial"/>
              </a:rPr>
              <a:t>Princípios &amp; Melhores </a:t>
            </a:r>
            <a:r>
              <a:rPr lang="pt-BR" b="1" dirty="0" smtClean="0">
                <a:solidFill>
                  <a:srgbClr val="009AA6"/>
                </a:solidFill>
                <a:latin typeface="Arial"/>
                <a:cs typeface="Arial"/>
              </a:rPr>
              <a:t>Práticas</a:t>
            </a:r>
          </a:p>
          <a:p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Princípios gerais</a:t>
            </a:r>
            <a:endParaRPr lang="pt-BR" i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3082270"/>
              </p:ext>
            </p:extLst>
          </p:nvPr>
        </p:nvGraphicFramePr>
        <p:xfrm>
          <a:off x="432547" y="1347614"/>
          <a:ext cx="8171703" cy="3205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01804"/>
                <a:gridCol w="4269899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ncípios</a:t>
                      </a:r>
                      <a:endParaRPr lang="pt-BR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tivação</a:t>
                      </a:r>
                      <a:endParaRPr lang="pt-BR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 Modelo Canônico a</a:t>
                      </a:r>
                      <a:r>
                        <a:rPr lang="pt-BR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ível conceitual (ou Macro) deverá ser acessível a analistas de negócio.</a:t>
                      </a:r>
                      <a:r>
                        <a:rPr lang="pt-BR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Uma representação gráfica (ou modelo)</a:t>
                      </a:r>
                      <a:r>
                        <a:rPr lang="pt-BR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verá existir para comunicar efetivamente com uma audiência não técnica. </a:t>
                      </a:r>
                      <a:endParaRPr lang="pt-BR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 modelo de dados corporativo deverá permitir a analistas de negócio compreender os conceitos e entidades de negócio envolvidas nos processos de negócio da empresa.</a:t>
                      </a:r>
                      <a:endParaRPr lang="pt-BR" sz="1400" kern="1200" baseline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400" kern="1200" baseline="0" noProof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 Modelo Canônico conceitual deverá ser normalizado, livre de considerações de implementação e minimizar a </a:t>
                      </a:r>
                      <a:r>
                        <a:rPr lang="pt-BR" sz="1400" u="sng" kern="1200" baseline="0" noProof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petição</a:t>
                      </a:r>
                      <a:r>
                        <a:rPr lang="pt-BR" sz="1400" kern="1200" baseline="0" noProof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 entidades e atributos.</a:t>
                      </a:r>
                      <a:endParaRPr lang="pt-BR" sz="1400" kern="1200" baseline="0" noProof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kern="1200" baseline="0" noProof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inimizar a repetição de conceitos em diferentes entidades e atributos minimiza a possibilidade de haver inconsistência dos dados.</a:t>
                      </a:r>
                      <a:endParaRPr lang="pt-BR" sz="1400" kern="1200" baseline="0" noProof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4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verá ser usado a notação de modelação de dados IE (</a:t>
                      </a:r>
                      <a:r>
                        <a:rPr lang="pt-BR" sz="1400" kern="1200" baseline="0" dirty="0" err="1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formation</a:t>
                      </a:r>
                      <a:r>
                        <a:rPr lang="pt-BR" sz="14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400" kern="1200" baseline="0" dirty="0" err="1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ngineering</a:t>
                      </a:r>
                      <a:r>
                        <a:rPr lang="pt-BR" sz="14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 ou UML para o modelo conceitual.</a:t>
                      </a:r>
                      <a:endParaRPr lang="pt-BR" sz="1400" kern="1200" baseline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as notações são as de mais fácil acessibilidade. São simples e concisas. </a:t>
                      </a:r>
                      <a:endParaRPr lang="pt-BR" sz="1400" kern="1200" baseline="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31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339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Princípios &amp; Melhores Práticas</a:t>
            </a:r>
          </a:p>
          <a:p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Princípios </a:t>
            </a:r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de modelagem e consolidação (1/3)</a:t>
            </a:r>
            <a:endParaRPr lang="pt-BR" i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6" name="Espaço Reservado para Conteúdo 3"/>
          <p:cNvSpPr txBox="1">
            <a:spLocks/>
          </p:cNvSpPr>
          <p:nvPr/>
        </p:nvSpPr>
        <p:spPr>
          <a:xfrm>
            <a:off x="432000" y="1347614"/>
            <a:ext cx="8145808" cy="2880320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20000"/>
              </a:spcBef>
              <a:defRPr/>
            </a:pPr>
            <a:r>
              <a:rPr lang="pt-PT" sz="1400" dirty="0">
                <a:latin typeface="Arial"/>
                <a:cs typeface="Arial"/>
              </a:rPr>
              <a:t>A primeira fase da </a:t>
            </a:r>
            <a:r>
              <a:rPr lang="pt-PT" sz="1400" dirty="0" smtClean="0">
                <a:latin typeface="Arial"/>
                <a:cs typeface="Arial"/>
              </a:rPr>
              <a:t>modelagem da </a:t>
            </a:r>
            <a:r>
              <a:rPr lang="pt-PT" sz="1400" dirty="0">
                <a:latin typeface="Arial"/>
                <a:cs typeface="Arial"/>
              </a:rPr>
              <a:t>informação consiste no levantamento das </a:t>
            </a:r>
            <a:r>
              <a:rPr lang="pt-PT" sz="1400" dirty="0" smtClean="0">
                <a:latin typeface="Arial"/>
                <a:cs typeface="Arial"/>
              </a:rPr>
              <a:t>entidades, seus atributos e relacionamentos existentes entre elas.</a:t>
            </a:r>
          </a:p>
          <a:p>
            <a:pPr lvl="0">
              <a:spcBef>
                <a:spcPct val="20000"/>
              </a:spcBef>
              <a:defRPr/>
            </a:pPr>
            <a:r>
              <a:rPr lang="pt-PT" sz="1400" dirty="0" smtClean="0">
                <a:latin typeface="Arial"/>
                <a:cs typeface="Arial"/>
              </a:rPr>
              <a:t>As </a:t>
            </a:r>
            <a:r>
              <a:rPr lang="pt-PT" sz="1400" b="1" dirty="0" smtClean="0">
                <a:latin typeface="Arial"/>
                <a:cs typeface="Arial"/>
              </a:rPr>
              <a:t>entidades</a:t>
            </a:r>
            <a:r>
              <a:rPr lang="pt-PT" sz="1400" dirty="0" smtClean="0">
                <a:latin typeface="Arial"/>
                <a:cs typeface="Arial"/>
              </a:rPr>
              <a:t> representam </a:t>
            </a:r>
            <a:r>
              <a:rPr lang="pt-PT" sz="1400" b="1" dirty="0" smtClean="0">
                <a:latin typeface="Arial"/>
                <a:cs typeface="Arial"/>
              </a:rPr>
              <a:t>conceitos do negócio</a:t>
            </a:r>
            <a:r>
              <a:rPr lang="pt-PT" sz="1400" dirty="0" smtClean="0">
                <a:latin typeface="Arial"/>
                <a:cs typeface="Arial"/>
              </a:rPr>
              <a:t>, que possuem um comportamento bem definido e sobre os quais se pretende guardar informação. Exemplo: Cliente, Conta Fatura. Os </a:t>
            </a:r>
            <a:r>
              <a:rPr lang="pt-PT" sz="1400" b="1" dirty="0" smtClean="0">
                <a:latin typeface="Arial"/>
                <a:cs typeface="Arial"/>
              </a:rPr>
              <a:t>atributos</a:t>
            </a:r>
            <a:r>
              <a:rPr lang="pt-PT" sz="1400" dirty="0" smtClean="0">
                <a:latin typeface="Arial"/>
                <a:cs typeface="Arial"/>
              </a:rPr>
              <a:t> consistem nas características de uma entidade; normalmente são identificados a partir de conceitos simples, não possuem comportamento definido e têm um único tipo de dado associado. Ex: Nome.</a:t>
            </a:r>
          </a:p>
          <a:p>
            <a:pPr>
              <a:spcBef>
                <a:spcPct val="20000"/>
              </a:spcBef>
              <a:defRPr/>
            </a:pPr>
            <a:endParaRPr kumimoji="0" lang="pt-PT" sz="14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>
              <a:spcBef>
                <a:spcPct val="20000"/>
              </a:spcBef>
              <a:defRPr/>
            </a:pPr>
            <a:r>
              <a:rPr lang="pt-PT" sz="1400" dirty="0" smtClean="0">
                <a:latin typeface="Arial"/>
                <a:cs typeface="Arial"/>
              </a:rPr>
              <a:t>Os seguintes atributos devem ser </a:t>
            </a:r>
            <a:r>
              <a:rPr lang="pt-PT" sz="1400" b="1" dirty="0" smtClean="0">
                <a:latin typeface="Arial"/>
                <a:cs typeface="Arial"/>
              </a:rPr>
              <a:t>obrigatórios</a:t>
            </a:r>
            <a:r>
              <a:rPr lang="pt-PT" sz="1400" dirty="0" smtClean="0">
                <a:latin typeface="Arial"/>
                <a:cs typeface="Arial"/>
              </a:rPr>
              <a:t> na caracterização de qualquer entidade de negócio: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kumimoji="0" lang="pt-PT" sz="140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Identificador</a:t>
            </a:r>
            <a:r>
              <a:rPr kumimoji="0" lang="pt-PT" sz="140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 da entidade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pt-PT" sz="1400" baseline="0" dirty="0" smtClean="0">
                <a:latin typeface="Arial"/>
                <a:cs typeface="Arial"/>
              </a:rPr>
              <a:t>Data</a:t>
            </a:r>
            <a:r>
              <a:rPr lang="pt-PT" sz="1400" dirty="0" smtClean="0">
                <a:latin typeface="Arial"/>
                <a:cs typeface="Arial"/>
              </a:rPr>
              <a:t> de criação da entidade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kumimoji="0" lang="pt-PT" sz="140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Utilizador</a:t>
            </a:r>
            <a:r>
              <a:rPr kumimoji="0" lang="pt-PT" sz="140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 responsável pela criação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pt-PT" sz="1400" baseline="0" dirty="0" smtClean="0">
                <a:latin typeface="Arial"/>
                <a:cs typeface="Arial"/>
              </a:rPr>
              <a:t>Data</a:t>
            </a:r>
            <a:r>
              <a:rPr lang="pt-PT" sz="1400" dirty="0" smtClean="0">
                <a:latin typeface="Arial"/>
                <a:cs typeface="Arial"/>
              </a:rPr>
              <a:t> da última modificação da entidade (data mestre)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pt-PT" sz="1400" dirty="0">
                <a:latin typeface="Arial"/>
                <a:cs typeface="Arial"/>
              </a:rPr>
              <a:t>Utilizador responsável </a:t>
            </a:r>
            <a:r>
              <a:rPr lang="pt-PT" sz="1400" dirty="0" smtClean="0">
                <a:latin typeface="Arial"/>
                <a:cs typeface="Arial"/>
              </a:rPr>
              <a:t>pela última modificação</a:t>
            </a:r>
            <a:endParaRPr kumimoji="0" lang="pt-PT" sz="140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5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32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358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Princípios &amp; Melhores Práticas</a:t>
            </a:r>
          </a:p>
          <a:p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Princípios </a:t>
            </a:r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de modelagem e consolidação (2/3)</a:t>
            </a:r>
            <a:endParaRPr lang="pt-BR" i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6" name="Espaço Reservado para Conteúdo 3"/>
          <p:cNvSpPr txBox="1">
            <a:spLocks/>
          </p:cNvSpPr>
          <p:nvPr/>
        </p:nvSpPr>
        <p:spPr>
          <a:xfrm>
            <a:off x="432000" y="1347614"/>
            <a:ext cx="8145808" cy="288032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Modelo Lógico</a:t>
            </a:r>
          </a:p>
          <a:p>
            <a:pPr>
              <a:spcBef>
                <a:spcPct val="20000"/>
              </a:spcBef>
              <a:defRPr/>
            </a:pPr>
            <a:r>
              <a:rPr lang="pt-BR" sz="1400" noProof="0" dirty="0" smtClean="0">
                <a:latin typeface="Arial"/>
                <a:cs typeface="Arial"/>
              </a:rPr>
              <a:t>O mapeamento do modelo lógico será realizado de forma </a:t>
            </a:r>
            <a:r>
              <a:rPr lang="pt-BR" sz="1400" i="1" noProof="0" dirty="0" err="1" smtClean="0">
                <a:latin typeface="Arial"/>
                <a:cs typeface="Arial"/>
              </a:rPr>
              <a:t>end</a:t>
            </a:r>
            <a:r>
              <a:rPr lang="pt-BR" sz="1400" i="1" noProof="0" dirty="0" smtClean="0">
                <a:latin typeface="Arial"/>
                <a:cs typeface="Arial"/>
              </a:rPr>
              <a:t> to </a:t>
            </a:r>
            <a:r>
              <a:rPr lang="pt-BR" sz="1400" i="1" noProof="0" dirty="0" err="1" smtClean="0">
                <a:latin typeface="Arial"/>
                <a:cs typeface="Arial"/>
              </a:rPr>
              <a:t>end</a:t>
            </a:r>
            <a:r>
              <a:rPr lang="pt-BR" sz="1400" i="1" dirty="0" smtClean="0">
                <a:latin typeface="Arial"/>
                <a:cs typeface="Arial"/>
              </a:rPr>
              <a:t> </a:t>
            </a:r>
            <a:r>
              <a:rPr lang="pt-BR" sz="1400" dirty="0" smtClean="0">
                <a:latin typeface="Arial"/>
                <a:cs typeface="Arial"/>
              </a:rPr>
              <a:t>das entidades e sem restrição de relacionamento entre as mesmas.</a:t>
            </a:r>
          </a:p>
          <a:p>
            <a:pPr>
              <a:spcBef>
                <a:spcPct val="20000"/>
              </a:spcBef>
              <a:defRPr/>
            </a:pPr>
            <a:r>
              <a:rPr lang="pt-BR" sz="1400" dirty="0" smtClean="0">
                <a:latin typeface="Arial"/>
                <a:cs typeface="Arial"/>
              </a:rPr>
              <a:t>Em caso de alterações das entidades deverão ser registrados as seguintes informações:</a:t>
            </a:r>
          </a:p>
          <a:p>
            <a:pPr lvl="2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kumimoji="0" lang="pt-BR" sz="14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 Data e Hora da alteração (data mestre);</a:t>
            </a:r>
          </a:p>
          <a:p>
            <a:pPr lvl="2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pt-BR" sz="1400" dirty="0" smtClean="0">
                <a:latin typeface="Arial"/>
                <a:cs typeface="Arial"/>
              </a:rPr>
              <a:t> Identificação do responsável pela alteração.</a:t>
            </a:r>
          </a:p>
          <a:p>
            <a:pPr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pt-BR" sz="1400" dirty="0" smtClean="0">
                <a:latin typeface="Arial"/>
                <a:cs typeface="Arial"/>
              </a:rPr>
              <a:t> </a:t>
            </a:r>
            <a:r>
              <a:rPr lang="pt-BR" sz="1400" b="1" dirty="0" smtClean="0">
                <a:latin typeface="Arial"/>
                <a:cs typeface="Arial"/>
              </a:rPr>
              <a:t>Normalização</a:t>
            </a:r>
          </a:p>
          <a:p>
            <a:pPr lvl="1"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pt-BR" sz="1400" b="1" dirty="0" smtClean="0">
                <a:latin typeface="Arial"/>
                <a:cs typeface="Arial"/>
              </a:rPr>
              <a:t> </a:t>
            </a:r>
            <a:r>
              <a:rPr lang="pt-BR" sz="1400" dirty="0" smtClean="0">
                <a:latin typeface="Arial"/>
                <a:cs typeface="Arial"/>
              </a:rPr>
              <a:t>Toda entidade do modelo lógico deve respeitar os </a:t>
            </a:r>
            <a:r>
              <a:rPr lang="pt-BR" sz="1400" b="1" dirty="0" smtClean="0">
                <a:latin typeface="Arial"/>
                <a:cs typeface="Arial"/>
              </a:rPr>
              <a:t>3FN*</a:t>
            </a:r>
            <a:r>
              <a:rPr lang="pt-BR" sz="1400" dirty="0">
                <a:latin typeface="Arial"/>
                <a:cs typeface="Arial"/>
              </a:rPr>
              <a:t>;</a:t>
            </a:r>
            <a:r>
              <a:rPr lang="pt-BR" sz="1400" b="1" i="1" dirty="0" smtClean="0">
                <a:latin typeface="Arial"/>
                <a:cs typeface="Arial"/>
              </a:rPr>
              <a:t>    </a:t>
            </a:r>
            <a:endParaRPr lang="pt-BR" sz="1400" b="1" dirty="0" smtClean="0">
              <a:latin typeface="Arial"/>
              <a:cs typeface="Arial"/>
            </a:endParaRPr>
          </a:p>
          <a:p>
            <a:pPr lvl="1"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pt-BR" sz="1400" dirty="0" smtClean="0">
                <a:latin typeface="Arial"/>
                <a:cs typeface="Arial"/>
              </a:rPr>
              <a:t> Toda entidade “filha” deve referenciar em seus atributos a sua</a:t>
            </a:r>
          </a:p>
          <a:p>
            <a:pPr lvl="1">
              <a:spcBef>
                <a:spcPct val="20000"/>
              </a:spcBef>
              <a:defRPr/>
            </a:pPr>
            <a:r>
              <a:rPr lang="pt-BR" sz="1400" dirty="0" smtClean="0">
                <a:latin typeface="Arial"/>
                <a:cs typeface="Arial"/>
              </a:rPr>
              <a:t>entidade “pai”.</a:t>
            </a:r>
            <a:endParaRPr kumimoji="0" lang="pt-BR" sz="1400" b="1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303916" y="3075806"/>
            <a:ext cx="2228524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/>
        </p:nvSpPr>
        <p:spPr>
          <a:xfrm>
            <a:off x="468313" y="3939901"/>
            <a:ext cx="8109495" cy="9361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t-BR" sz="1000" b="1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*Definição das 3 FN (formas de normalização):</a:t>
            </a:r>
          </a:p>
          <a:p>
            <a:r>
              <a:rPr lang="pt-BR" sz="1000" b="1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FN: </a:t>
            </a:r>
            <a:r>
              <a:rPr lang="pt-BR" sz="1000" b="1" dirty="0" smtClean="0">
                <a:solidFill>
                  <a:schemeClr val="tx1"/>
                </a:solidFill>
              </a:rPr>
              <a:t>Uma tabela está na 1FN, se e somente se, não possuir atributos multivalorados.</a:t>
            </a:r>
            <a:endParaRPr lang="pt-BR" sz="10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r>
              <a:rPr lang="pt-BR" sz="1000" b="1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FN: </a:t>
            </a:r>
            <a:r>
              <a:rPr lang="pt-BR" sz="1000" b="1" dirty="0" smtClean="0">
                <a:solidFill>
                  <a:schemeClr val="tx1"/>
                </a:solidFill>
              </a:rPr>
              <a:t>Uma relação está na 2FN se, e somente se, estiver na 1FN e cada atributo não-chave for dependente da chave primária inteira, isto é, cada atributo não-chave não poderá ser dependente de apenas parte da chave.</a:t>
            </a:r>
            <a:endParaRPr lang="pt-BR" sz="10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r>
              <a:rPr lang="pt-BR" sz="1000" b="1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3FN:</a:t>
            </a:r>
            <a:r>
              <a:rPr lang="pt-BR" sz="1000" b="1" dirty="0" smtClean="0">
                <a:solidFill>
                  <a:schemeClr val="tx1"/>
                </a:solidFill>
              </a:rPr>
              <a:t>Uma relação </a:t>
            </a:r>
            <a:r>
              <a:rPr lang="pt-BR" sz="1000" b="1" i="1" dirty="0" smtClean="0">
                <a:solidFill>
                  <a:schemeClr val="tx1"/>
                </a:solidFill>
              </a:rPr>
              <a:t>R</a:t>
            </a:r>
            <a:r>
              <a:rPr lang="pt-BR" sz="1000" b="1" dirty="0" smtClean="0">
                <a:solidFill>
                  <a:schemeClr val="tx1"/>
                </a:solidFill>
              </a:rPr>
              <a:t> está na 3FN, se estiver na 2FN e cada atributo não-chave de </a:t>
            </a:r>
            <a:r>
              <a:rPr lang="pt-BR" sz="1000" b="1" i="1" dirty="0" smtClean="0">
                <a:solidFill>
                  <a:schemeClr val="tx1"/>
                </a:solidFill>
              </a:rPr>
              <a:t>R</a:t>
            </a:r>
            <a:r>
              <a:rPr lang="pt-BR" sz="1000" b="1" dirty="0" smtClean="0">
                <a:solidFill>
                  <a:schemeClr val="tx1"/>
                </a:solidFill>
              </a:rPr>
              <a:t> não possuir dependência transitiva, para cada chave candidata de </a:t>
            </a:r>
            <a:r>
              <a:rPr lang="pt-BR" sz="1000" b="1" i="1" dirty="0" smtClean="0">
                <a:solidFill>
                  <a:schemeClr val="tx1"/>
                </a:solidFill>
              </a:rPr>
              <a:t>R</a:t>
            </a:r>
            <a:r>
              <a:rPr lang="pt-BR" sz="1000" b="1" dirty="0" smtClean="0">
                <a:solidFill>
                  <a:schemeClr val="tx1"/>
                </a:solidFill>
              </a:rPr>
              <a:t>.</a:t>
            </a:r>
            <a:endParaRPr lang="pt-BR" sz="1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33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1610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Conteúdo 3"/>
          <p:cNvSpPr txBox="1">
            <a:spLocks/>
          </p:cNvSpPr>
          <p:nvPr/>
        </p:nvSpPr>
        <p:spPr>
          <a:xfrm>
            <a:off x="432000" y="1347614"/>
            <a:ext cx="8146800" cy="273630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Modelo Técnico</a:t>
            </a:r>
          </a:p>
          <a:p>
            <a:pPr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pt-BR" sz="1400" b="1" noProof="0" dirty="0" smtClean="0">
                <a:latin typeface="Arial"/>
                <a:cs typeface="Arial"/>
              </a:rPr>
              <a:t> Integração </a:t>
            </a:r>
            <a:r>
              <a:rPr lang="pt-BR" sz="1400" b="1" i="1" noProof="0" dirty="0" smtClean="0">
                <a:latin typeface="Arial"/>
                <a:cs typeface="Arial"/>
              </a:rPr>
              <a:t>Batch</a:t>
            </a:r>
            <a:endParaRPr kumimoji="0" lang="pt-BR" sz="1400" b="1" i="1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lvl="1"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pt-BR" sz="1400" b="1" noProof="0" dirty="0" smtClean="0">
                <a:latin typeface="Arial"/>
                <a:cs typeface="Arial"/>
              </a:rPr>
              <a:t> </a:t>
            </a:r>
            <a:r>
              <a:rPr lang="pt-BR" sz="1400" noProof="0" dirty="0" smtClean="0">
                <a:latin typeface="Arial"/>
                <a:cs typeface="Arial"/>
              </a:rPr>
              <a:t>Não deve haver </a:t>
            </a:r>
            <a:r>
              <a:rPr lang="pt-BR" sz="1400" i="1" noProof="0" dirty="0" err="1" smtClean="0">
                <a:latin typeface="Arial"/>
                <a:cs typeface="Arial"/>
              </a:rPr>
              <a:t>constraint</a:t>
            </a:r>
            <a:r>
              <a:rPr lang="pt-BR" sz="1400" i="1" noProof="0" dirty="0" smtClean="0">
                <a:latin typeface="Arial"/>
                <a:cs typeface="Arial"/>
              </a:rPr>
              <a:t> </a:t>
            </a:r>
            <a:r>
              <a:rPr lang="pt-BR" sz="1400" noProof="0" dirty="0" smtClean="0">
                <a:latin typeface="Arial"/>
                <a:cs typeface="Arial"/>
              </a:rPr>
              <a:t>de relacionamento      </a:t>
            </a:r>
          </a:p>
          <a:p>
            <a:pPr lvl="1">
              <a:spcBef>
                <a:spcPct val="20000"/>
              </a:spcBef>
              <a:defRPr/>
            </a:pPr>
            <a:r>
              <a:rPr lang="pt-BR" sz="1400" noProof="0" dirty="0" smtClean="0">
                <a:latin typeface="Arial"/>
                <a:cs typeface="Arial"/>
              </a:rPr>
              <a:t>entre as entidades;</a:t>
            </a:r>
          </a:p>
          <a:p>
            <a:pPr lvl="1"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pt-BR" sz="1400" dirty="0" smtClean="0">
                <a:latin typeface="Arial"/>
                <a:cs typeface="Arial"/>
              </a:rPr>
              <a:t> Os sistema de origem devem ser atributo da entidade.</a:t>
            </a:r>
          </a:p>
          <a:p>
            <a:pPr lvl="1">
              <a:spcBef>
                <a:spcPct val="20000"/>
              </a:spcBef>
              <a:defRPr/>
            </a:pPr>
            <a:endParaRPr lang="pt-BR" sz="1400" dirty="0" smtClean="0">
              <a:latin typeface="Arial"/>
              <a:cs typeface="Arial"/>
            </a:endParaRPr>
          </a:p>
          <a:p>
            <a:pPr>
              <a:spcBef>
                <a:spcPct val="20000"/>
              </a:spcBef>
              <a:defRPr/>
            </a:pPr>
            <a:endParaRPr lang="pt-BR" sz="1400" b="1" dirty="0" smtClean="0">
              <a:latin typeface="Arial"/>
              <a:cs typeface="Arial"/>
            </a:endParaRPr>
          </a:p>
          <a:p>
            <a:pPr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pt-BR" sz="1400" b="1" dirty="0" smtClean="0">
                <a:latin typeface="Arial"/>
                <a:cs typeface="Arial"/>
              </a:rPr>
              <a:t> Integração </a:t>
            </a:r>
            <a:r>
              <a:rPr lang="pt-BR" sz="1400" b="1" i="1" dirty="0" smtClean="0">
                <a:latin typeface="Arial"/>
                <a:cs typeface="Arial"/>
              </a:rPr>
              <a:t>Online</a:t>
            </a:r>
          </a:p>
          <a:p>
            <a:pPr lvl="1">
              <a:spcBef>
                <a:spcPct val="20000"/>
              </a:spcBef>
              <a:buFont typeface="Wingdings" pitchFamily="2" charset="2"/>
              <a:buChar char="ü"/>
              <a:defRPr/>
            </a:pPr>
            <a:r>
              <a:rPr lang="pt-BR" sz="1400" b="1" dirty="0" smtClean="0">
                <a:latin typeface="Arial"/>
                <a:cs typeface="Arial"/>
              </a:rPr>
              <a:t> </a:t>
            </a:r>
            <a:r>
              <a:rPr lang="pt-BR" sz="1400" dirty="0" smtClean="0">
                <a:latin typeface="Arial"/>
                <a:cs typeface="Arial"/>
              </a:rPr>
              <a:t>Toda entidade pai – filha deve ser </a:t>
            </a:r>
            <a:r>
              <a:rPr lang="pt-BR" sz="1400" b="1" dirty="0" smtClean="0">
                <a:latin typeface="Arial"/>
                <a:cs typeface="Arial"/>
              </a:rPr>
              <a:t>desnormalizada</a:t>
            </a:r>
            <a:r>
              <a:rPr lang="pt-BR" sz="1400" dirty="0" smtClean="0">
                <a:latin typeface="Arial"/>
                <a:cs typeface="Arial"/>
              </a:rPr>
              <a:t> em 2 níveis.</a:t>
            </a:r>
            <a:endParaRPr lang="pt-BR" sz="1400" dirty="0">
              <a:latin typeface="Arial"/>
              <a:cs typeface="Arial"/>
            </a:endParaRPr>
          </a:p>
        </p:txBody>
      </p:sp>
      <p:grpSp>
        <p:nvGrpSpPr>
          <p:cNvPr id="3" name="Group 30"/>
          <p:cNvGrpSpPr/>
          <p:nvPr/>
        </p:nvGrpSpPr>
        <p:grpSpPr>
          <a:xfrm>
            <a:off x="4283968" y="4083918"/>
            <a:ext cx="720080" cy="504056"/>
            <a:chOff x="4283968" y="3867894"/>
            <a:chExt cx="720080" cy="504056"/>
          </a:xfrm>
        </p:grpSpPr>
        <p:sp>
          <p:nvSpPr>
            <p:cNvPr id="18" name="Chevron 17"/>
            <p:cNvSpPr/>
            <p:nvPr/>
          </p:nvSpPr>
          <p:spPr>
            <a:xfrm>
              <a:off x="4283968" y="3867894"/>
              <a:ext cx="288032" cy="504056"/>
            </a:xfrm>
            <a:prstGeom prst="chevron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chemeClr val="tx1"/>
                </a:solidFill>
              </a:endParaRPr>
            </a:p>
          </p:txBody>
        </p:sp>
        <p:sp>
          <p:nvSpPr>
            <p:cNvPr id="19" name="Chevron 18"/>
            <p:cNvSpPr/>
            <p:nvPr/>
          </p:nvSpPr>
          <p:spPr>
            <a:xfrm>
              <a:off x="4499992" y="3878780"/>
              <a:ext cx="288032" cy="468000"/>
            </a:xfrm>
            <a:prstGeom prst="chevron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chemeClr val="tx1"/>
                </a:solidFill>
              </a:endParaRPr>
            </a:p>
          </p:txBody>
        </p:sp>
        <p:sp>
          <p:nvSpPr>
            <p:cNvPr id="20" name="Chevron 19"/>
            <p:cNvSpPr/>
            <p:nvPr/>
          </p:nvSpPr>
          <p:spPr>
            <a:xfrm>
              <a:off x="4716016" y="3900552"/>
              <a:ext cx="288032" cy="432000"/>
            </a:xfrm>
            <a:prstGeom prst="chevron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chemeClr val="tx1"/>
                </a:solidFill>
              </a:endParaRPr>
            </a:p>
          </p:txBody>
        </p:sp>
      </p:grpSp>
      <p:pic>
        <p:nvPicPr>
          <p:cNvPr id="2061" name="Picture 1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508104" y="3869060"/>
            <a:ext cx="864096" cy="9561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65" name="Picture 1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652120" y="1707654"/>
            <a:ext cx="2138425" cy="101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&quot;No&quot; Symbol 28"/>
          <p:cNvSpPr/>
          <p:nvPr/>
        </p:nvSpPr>
        <p:spPr>
          <a:xfrm>
            <a:off x="5508104" y="1491630"/>
            <a:ext cx="2426457" cy="1656184"/>
          </a:xfrm>
          <a:prstGeom prst="noSmoking">
            <a:avLst>
              <a:gd name="adj" fmla="val 4190"/>
            </a:avLst>
          </a:prstGeom>
          <a:solidFill>
            <a:srgbClr val="FF0000">
              <a:alpha val="37000"/>
            </a:srgb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27584" y="3975323"/>
            <a:ext cx="3024336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020272" y="3867894"/>
            <a:ext cx="1008112" cy="649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Bent-Up Arrow 20"/>
          <p:cNvSpPr/>
          <p:nvPr/>
        </p:nvSpPr>
        <p:spPr>
          <a:xfrm rot="16200000" flipH="1">
            <a:off x="6646234" y="4301133"/>
            <a:ext cx="252000" cy="756000"/>
          </a:xfrm>
          <a:prstGeom prst="bentUp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TextBox 14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Princípios &amp; Melhores Práticas</a:t>
            </a:r>
          </a:p>
          <a:p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Princípios </a:t>
            </a:r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de modelagem e consolidação (3/3)</a:t>
            </a:r>
            <a:endParaRPr lang="pt-BR" i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16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34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9660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Princípios &amp; Melhores Práticas</a:t>
            </a:r>
          </a:p>
          <a:p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Reutilização </a:t>
            </a:r>
            <a:r>
              <a:rPr lang="pt-BR" i="1" dirty="0">
                <a:solidFill>
                  <a:srgbClr val="009AA6"/>
                </a:solidFill>
                <a:latin typeface="Arial"/>
                <a:cs typeface="Arial"/>
              </a:rPr>
              <a:t>de </a:t>
            </a:r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entidades/atributos (1/2)</a:t>
            </a:r>
            <a:endParaRPr lang="pt-BR" i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33" name="AutoShap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7544" y="1635646"/>
            <a:ext cx="1800200" cy="647700"/>
          </a:xfrm>
          <a:prstGeom prst="homePlate">
            <a:avLst>
              <a:gd name="adj" fmla="val 32604"/>
            </a:avLst>
          </a:prstGeom>
          <a:solidFill>
            <a:srgbClr val="009AA6"/>
          </a:solidFill>
          <a:ln w="3175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0" rIns="108000" bIns="0" anchor="ctr"/>
          <a:lstStyle/>
          <a:p>
            <a:pPr algn="ctr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000000"/>
              </a:buClr>
              <a:buSzPct val="90000"/>
            </a:pPr>
            <a:r>
              <a:rPr lang="pt-PT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quivalência de entidades</a:t>
            </a:r>
          </a:p>
        </p:txBody>
      </p:sp>
      <p:sp>
        <p:nvSpPr>
          <p:cNvPr id="34" name="AutoShap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7544" y="2716138"/>
            <a:ext cx="1800200" cy="647700"/>
          </a:xfrm>
          <a:prstGeom prst="homePlate">
            <a:avLst>
              <a:gd name="adj" fmla="val 32604"/>
            </a:avLst>
          </a:prstGeom>
          <a:solidFill>
            <a:srgbClr val="009AA6"/>
          </a:solidFill>
          <a:ln w="3175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0" rIns="108000" bIns="0" anchor="ctr"/>
          <a:lstStyle/>
          <a:p>
            <a:pPr algn="ctr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000000"/>
              </a:buClr>
              <a:buSzPct val="90000"/>
            </a:pPr>
            <a:r>
              <a:rPr lang="pt-PT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quivalência de atributo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7888" y="1058863"/>
            <a:ext cx="2952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Descrição</a:t>
            </a:r>
            <a:endParaRPr lang="pt-PT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544232" y="1059582"/>
            <a:ext cx="2952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Vantagens</a:t>
            </a:r>
            <a:endParaRPr lang="pt-PT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2447888" y="1408879"/>
            <a:ext cx="295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5544232" y="1408879"/>
            <a:ext cx="295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2447848" y="1563638"/>
            <a:ext cx="2952080" cy="81136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just">
              <a:spcBef>
                <a:spcPct val="20000"/>
              </a:spcBef>
              <a:defRPr/>
            </a:pPr>
            <a:r>
              <a:rPr lang="pt-PT" sz="1200" dirty="0">
                <a:latin typeface="Arial"/>
                <a:cs typeface="Arial"/>
              </a:rPr>
              <a:t>Garantir que o mesmo conceito utilizado em diferentes aplicações se refere ao mesmo conceito  de negócio e se </a:t>
            </a:r>
            <a:r>
              <a:rPr lang="pt-PT" sz="1200" dirty="0" smtClean="0">
                <a:latin typeface="Arial"/>
                <a:cs typeface="Arial"/>
              </a:rPr>
              <a:t>reflete </a:t>
            </a:r>
            <a:r>
              <a:rPr lang="pt-PT" sz="1200" dirty="0">
                <a:latin typeface="Arial"/>
                <a:cs typeface="Arial"/>
              </a:rPr>
              <a:t>na mesma entidade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5544192" y="1563638"/>
            <a:ext cx="2952080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just">
              <a:spcBef>
                <a:spcPct val="20000"/>
              </a:spcBef>
              <a:defRPr sz="1400">
                <a:latin typeface="Arial"/>
                <a:cs typeface="Arial"/>
              </a:defRPr>
            </a:lvl1pPr>
          </a:lstStyle>
          <a:p>
            <a:r>
              <a:rPr lang="pt-PT" sz="1200" dirty="0" smtClean="0"/>
              <a:t>Permite </a:t>
            </a:r>
            <a:r>
              <a:rPr lang="pt-PT" sz="1200" dirty="0"/>
              <a:t>aos </a:t>
            </a:r>
            <a:r>
              <a:rPr lang="pt-PT" sz="1200" dirty="0" smtClean="0"/>
              <a:t>projetos </a:t>
            </a:r>
            <a:r>
              <a:rPr lang="pt-PT" sz="1200" dirty="0"/>
              <a:t>identificar facilmente os conceitos equivalentes em cada aplicação</a:t>
            </a:r>
            <a:r>
              <a:rPr lang="pt-PT" sz="1200" dirty="0" smtClean="0"/>
              <a:t>.</a:t>
            </a:r>
            <a:endParaRPr lang="pt-PT" sz="1200" dirty="0"/>
          </a:p>
        </p:txBody>
      </p:sp>
      <p:sp>
        <p:nvSpPr>
          <p:cNvPr id="41" name="TextBox 40"/>
          <p:cNvSpPr txBox="1"/>
          <p:nvPr/>
        </p:nvSpPr>
        <p:spPr>
          <a:xfrm>
            <a:off x="2447848" y="2624479"/>
            <a:ext cx="2952080" cy="81136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just">
              <a:spcBef>
                <a:spcPct val="20000"/>
              </a:spcBef>
              <a:defRPr sz="1200">
                <a:latin typeface="Arial"/>
                <a:cs typeface="Arial"/>
              </a:defRPr>
            </a:lvl1pPr>
          </a:lstStyle>
          <a:p>
            <a:r>
              <a:rPr lang="pt-PT" dirty="0"/>
              <a:t>Identificar atributos onde possam ser criadas relações de equivalência entre os </a:t>
            </a:r>
            <a:r>
              <a:rPr lang="pt-PT" dirty="0" err="1"/>
              <a:t>respectivos</a:t>
            </a:r>
            <a:r>
              <a:rPr lang="pt-PT" dirty="0"/>
              <a:t> conceitos visando a sua uniformização e consolidação.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544192" y="2624479"/>
            <a:ext cx="2952080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just">
              <a:spcBef>
                <a:spcPct val="20000"/>
              </a:spcBef>
              <a:defRPr sz="1400">
                <a:latin typeface="Arial"/>
                <a:cs typeface="Arial"/>
              </a:defRPr>
            </a:lvl1pPr>
          </a:lstStyle>
          <a:p>
            <a:r>
              <a:rPr lang="pt-PT" sz="1200" dirty="0" smtClean="0"/>
              <a:t>Permite </a:t>
            </a:r>
            <a:r>
              <a:rPr lang="pt-PT" sz="1200" dirty="0"/>
              <a:t>aos </a:t>
            </a:r>
            <a:r>
              <a:rPr lang="pt-PT" sz="1200" dirty="0" smtClean="0"/>
              <a:t>projetos </a:t>
            </a:r>
            <a:r>
              <a:rPr lang="pt-PT" sz="1200" dirty="0"/>
              <a:t>identificar de forma atómica os conceitos equivalentes em cada aplicação.</a:t>
            </a:r>
          </a:p>
        </p:txBody>
      </p:sp>
      <p:sp>
        <p:nvSpPr>
          <p:cNvPr id="13" name="AutoShap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7544" y="3796258"/>
            <a:ext cx="1800200" cy="647700"/>
          </a:xfrm>
          <a:prstGeom prst="homePlate">
            <a:avLst>
              <a:gd name="adj" fmla="val 32604"/>
            </a:avLst>
          </a:prstGeom>
          <a:solidFill>
            <a:srgbClr val="009AA6"/>
          </a:solidFill>
          <a:ln w="3175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0" rIns="108000" bIns="0" anchor="ctr"/>
          <a:lstStyle/>
          <a:p>
            <a:pPr algn="ctr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000000"/>
              </a:buClr>
              <a:buSzPct val="90000"/>
            </a:pPr>
            <a:r>
              <a:rPr lang="pt-PT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formização de atributo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447848" y="3651870"/>
            <a:ext cx="2952080" cy="81136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just">
              <a:spcBef>
                <a:spcPct val="20000"/>
              </a:spcBef>
              <a:defRPr sz="1200">
                <a:latin typeface="Arial"/>
                <a:cs typeface="Arial"/>
              </a:defRPr>
            </a:lvl1pPr>
          </a:lstStyle>
          <a:p>
            <a:r>
              <a:rPr lang="pt-PT" dirty="0"/>
              <a:t>Alinhar a representação e formato exposto de atributos equivalentes entre aplicações com o tipo e tamanho que é definido pelo </a:t>
            </a:r>
            <a:r>
              <a:rPr lang="pt-PT" i="1" dirty="0"/>
              <a:t>master</a:t>
            </a:r>
            <a:r>
              <a:rPr lang="pt-PT" dirty="0"/>
              <a:t> da informação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544192" y="3651870"/>
            <a:ext cx="2952080" cy="143923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just">
              <a:spcBef>
                <a:spcPct val="20000"/>
              </a:spcBef>
              <a:defRPr sz="1400">
                <a:latin typeface="Arial"/>
                <a:cs typeface="Arial"/>
              </a:defRPr>
            </a:lvl1pPr>
          </a:lstStyle>
          <a:p>
            <a:r>
              <a:rPr lang="pt-PT" sz="1200" dirty="0" smtClean="0"/>
              <a:t>Permite </a:t>
            </a:r>
            <a:r>
              <a:rPr lang="pt-PT" sz="1200" dirty="0"/>
              <a:t>minimizar as traduções e garante a compatibilidade da informação entre </a:t>
            </a:r>
            <a:r>
              <a:rPr lang="pt-PT" sz="1200" dirty="0" smtClean="0"/>
              <a:t>aplicações. A </a:t>
            </a:r>
            <a:r>
              <a:rPr lang="pt-PT" sz="1200" dirty="0"/>
              <a:t>definição clara do sistema </a:t>
            </a:r>
            <a:r>
              <a:rPr lang="pt-PT" sz="1200" i="1" dirty="0"/>
              <a:t>master</a:t>
            </a:r>
            <a:r>
              <a:rPr lang="pt-PT" sz="1200" dirty="0"/>
              <a:t> do atributo contribui para a integridade e o fluxo </a:t>
            </a:r>
            <a:r>
              <a:rPr lang="pt-PT" sz="1200" dirty="0" err="1"/>
              <a:t>correcto</a:t>
            </a:r>
            <a:r>
              <a:rPr lang="pt-PT" sz="1200" dirty="0"/>
              <a:t> da informação.</a:t>
            </a:r>
          </a:p>
          <a:p>
            <a:endParaRPr lang="pt-PT" sz="1200" dirty="0"/>
          </a:p>
        </p:txBody>
      </p:sp>
      <p:sp>
        <p:nvSpPr>
          <p:cNvPr id="17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35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0936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Princípios &amp; Melhores Práticas</a:t>
            </a:r>
          </a:p>
          <a:p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Reutilização </a:t>
            </a:r>
            <a:r>
              <a:rPr lang="pt-BR" i="1" dirty="0">
                <a:solidFill>
                  <a:srgbClr val="009AA6"/>
                </a:solidFill>
                <a:latin typeface="Arial"/>
                <a:cs typeface="Arial"/>
              </a:rPr>
              <a:t>de entidades/atributos </a:t>
            </a:r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(2/2</a:t>
            </a:r>
            <a:r>
              <a:rPr lang="pt-BR" i="1" dirty="0">
                <a:solidFill>
                  <a:srgbClr val="009AA6"/>
                </a:solidFill>
                <a:latin typeface="Arial"/>
                <a:cs typeface="Arial"/>
              </a:rPr>
              <a:t>)</a:t>
            </a:r>
          </a:p>
        </p:txBody>
      </p:sp>
      <p:sp>
        <p:nvSpPr>
          <p:cNvPr id="33" name="AutoShap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7544" y="1635646"/>
            <a:ext cx="1800200" cy="647700"/>
          </a:xfrm>
          <a:prstGeom prst="homePlate">
            <a:avLst>
              <a:gd name="adj" fmla="val 32604"/>
            </a:avLst>
          </a:prstGeom>
          <a:solidFill>
            <a:srgbClr val="009AA6"/>
          </a:solidFill>
          <a:ln w="3175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0" rIns="108000" bIns="0" anchor="ctr"/>
          <a:lstStyle/>
          <a:p>
            <a:pPr algn="ctr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000000"/>
              </a:buClr>
              <a:buSzPct val="90000"/>
            </a:pPr>
            <a:r>
              <a:rPr lang="pt-PT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quivalência de entidades</a:t>
            </a:r>
          </a:p>
        </p:txBody>
      </p:sp>
      <p:sp>
        <p:nvSpPr>
          <p:cNvPr id="34" name="AutoShap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7544" y="2716138"/>
            <a:ext cx="1800200" cy="647700"/>
          </a:xfrm>
          <a:prstGeom prst="homePlate">
            <a:avLst>
              <a:gd name="adj" fmla="val 32604"/>
            </a:avLst>
          </a:prstGeom>
          <a:solidFill>
            <a:srgbClr val="009AA6"/>
          </a:solidFill>
          <a:ln w="3175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0" rIns="108000" bIns="0" anchor="ctr"/>
          <a:lstStyle/>
          <a:p>
            <a:pPr algn="ctr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000000"/>
              </a:buClr>
              <a:buSzPct val="90000"/>
            </a:pPr>
            <a:r>
              <a:rPr lang="pt-PT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quivalência de atributos</a:t>
            </a:r>
          </a:p>
        </p:txBody>
      </p:sp>
      <p:sp>
        <p:nvSpPr>
          <p:cNvPr id="13" name="AutoShap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7544" y="3796258"/>
            <a:ext cx="1800200" cy="647700"/>
          </a:xfrm>
          <a:prstGeom prst="homePlate">
            <a:avLst>
              <a:gd name="adj" fmla="val 32604"/>
            </a:avLst>
          </a:prstGeom>
          <a:solidFill>
            <a:srgbClr val="009AA6"/>
          </a:solidFill>
          <a:ln w="3175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0" rIns="108000" bIns="0" anchor="ctr"/>
          <a:lstStyle/>
          <a:p>
            <a:pPr algn="ctr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000000"/>
              </a:buClr>
              <a:buSzPct val="90000"/>
            </a:pPr>
            <a:r>
              <a:rPr lang="pt-PT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formização de atributos</a:t>
            </a:r>
          </a:p>
        </p:txBody>
      </p:sp>
      <p:graphicFrame>
        <p:nvGraphicFramePr>
          <p:cNvPr id="17" name="Group 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627135"/>
              </p:ext>
            </p:extLst>
          </p:nvPr>
        </p:nvGraphicFramePr>
        <p:xfrm>
          <a:off x="3088511" y="2163686"/>
          <a:ext cx="5044885" cy="1308178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884555"/>
                <a:gridCol w="1170305"/>
                <a:gridCol w="622618"/>
                <a:gridCol w="892302"/>
                <a:gridCol w="1475105"/>
              </a:tblGrid>
              <a:tr h="4080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dade</a:t>
                      </a:r>
                      <a:endParaRPr kumimoji="0" lang="pt-P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ributo</a:t>
                      </a:r>
                      <a:endParaRPr kumimoji="0" lang="pt-P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po</a:t>
                      </a:r>
                      <a:endParaRPr kumimoji="0" lang="pt-P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manho</a:t>
                      </a:r>
                      <a:endParaRPr kumimoji="0" lang="pt-P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stema</a:t>
                      </a:r>
                      <a:endParaRPr kumimoji="0" lang="pt-P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</a:tr>
              <a:tr h="3000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stomer</a:t>
                      </a:r>
                      <a:endParaRPr kumimoji="0" lang="pt-PT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rrentStatus</a:t>
                      </a:r>
                      <a:endParaRPr kumimoji="0" lang="pt-PT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ing</a:t>
                      </a:r>
                      <a:endParaRPr kumimoji="0" lang="pt-PT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kumimoji="0" lang="pt-PT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stema A</a:t>
                      </a:r>
                      <a:endParaRPr kumimoji="0" lang="pt-PT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3000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iente</a:t>
                      </a:r>
                      <a:endParaRPr kumimoji="0" lang="pt-PT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adoCliente</a:t>
                      </a:r>
                      <a:endParaRPr kumimoji="0" lang="pt-PT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ing</a:t>
                      </a:r>
                      <a:endParaRPr kumimoji="0" lang="pt-PT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kumimoji="0" lang="pt-PT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to canônico</a:t>
                      </a:r>
                      <a:endParaRPr kumimoji="0" lang="pt-PT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3000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iente</a:t>
                      </a:r>
                      <a:endParaRPr kumimoji="0" lang="pt-PT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us</a:t>
                      </a:r>
                      <a:endParaRPr kumimoji="0" lang="pt-PT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ing</a:t>
                      </a:r>
                      <a:endParaRPr kumimoji="0" lang="pt-PT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kumimoji="0" lang="pt-PT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stema B</a:t>
                      </a:r>
                      <a:endParaRPr kumimoji="0" lang="pt-PT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</a:tbl>
          </a:graphicData>
        </a:graphic>
      </p:graphicFrame>
      <p:sp>
        <p:nvSpPr>
          <p:cNvPr id="18" name="Notched Right Arrow 17"/>
          <p:cNvSpPr>
            <a:spLocks noChangeArrowheads="1"/>
          </p:cNvSpPr>
          <p:nvPr/>
        </p:nvSpPr>
        <p:spPr bwMode="auto">
          <a:xfrm>
            <a:off x="2417465" y="2499742"/>
            <a:ext cx="714375" cy="357187"/>
          </a:xfrm>
          <a:prstGeom prst="notchedRightArrow">
            <a:avLst>
              <a:gd name="adj1" fmla="val 50000"/>
              <a:gd name="adj2" fmla="val 50000"/>
            </a:avLst>
          </a:prstGeom>
          <a:solidFill>
            <a:schemeClr val="accent6">
              <a:lumMod val="75000"/>
            </a:schemeClr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pt-PT" sz="800" b="1" i="1">
                <a:solidFill>
                  <a:schemeClr val="bg1"/>
                </a:solidFill>
              </a:rPr>
              <a:t>Master</a:t>
            </a:r>
          </a:p>
        </p:txBody>
      </p:sp>
      <p:grpSp>
        <p:nvGrpSpPr>
          <p:cNvPr id="21" name="Group 24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5724128" y="1637358"/>
            <a:ext cx="1400175" cy="214312"/>
            <a:chOff x="7419975" y="3714752"/>
            <a:chExt cx="1400175" cy="214314"/>
          </a:xfrm>
        </p:grpSpPr>
        <p:sp>
          <p:nvSpPr>
            <p:cNvPr id="22" name="Text Box 62"/>
            <p:cNvSpPr txBox="1">
              <a:spLocks noChangeArrowheads="1"/>
            </p:cNvSpPr>
            <p:nvPr/>
          </p:nvSpPr>
          <p:spPr bwMode="auto">
            <a:xfrm>
              <a:off x="7419975" y="3737270"/>
              <a:ext cx="1400175" cy="1692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1" hangingPunct="1">
                <a:lnSpc>
                  <a:spcPct val="110000"/>
                </a:lnSpc>
                <a:spcAft>
                  <a:spcPct val="30000"/>
                </a:spcAft>
                <a:buClr>
                  <a:srgbClr val="000000"/>
                </a:buClr>
                <a:buSzPct val="90000"/>
                <a:buFont typeface="Arial Unicode MS" pitchFamily="34" charset="-128"/>
                <a:buNone/>
              </a:pPr>
              <a:r>
                <a:rPr lang="pt-PT" sz="1000" b="1">
                  <a:solidFill>
                    <a:srgbClr val="000000"/>
                  </a:solidFill>
                  <a:latin typeface="Trebuchet MS" pitchFamily="34" charset="0"/>
                </a:rPr>
                <a:t>Ilustrativo</a:t>
              </a:r>
            </a:p>
          </p:txBody>
        </p:sp>
        <p:sp>
          <p:nvSpPr>
            <p:cNvPr id="23" name="Line 64"/>
            <p:cNvSpPr>
              <a:spLocks noChangeShapeType="1"/>
            </p:cNvSpPr>
            <p:nvPr/>
          </p:nvSpPr>
          <p:spPr bwMode="auto">
            <a:xfrm>
              <a:off x="7726470" y="3929066"/>
              <a:ext cx="76393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pt-PT"/>
            </a:p>
          </p:txBody>
        </p:sp>
        <p:sp>
          <p:nvSpPr>
            <p:cNvPr id="24" name="Line 65"/>
            <p:cNvSpPr>
              <a:spLocks noChangeShapeType="1"/>
            </p:cNvSpPr>
            <p:nvPr/>
          </p:nvSpPr>
          <p:spPr bwMode="auto">
            <a:xfrm>
              <a:off x="7727675" y="3714752"/>
              <a:ext cx="76393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pt-PT"/>
            </a:p>
          </p:txBody>
        </p:sp>
      </p:grpSp>
      <p:sp>
        <p:nvSpPr>
          <p:cNvPr id="14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36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5563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Princípios &amp; Melhores Práticas</a:t>
            </a:r>
          </a:p>
          <a:p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Normalização </a:t>
            </a:r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de </a:t>
            </a:r>
            <a:r>
              <a:rPr lang="pt-BR" i="1" dirty="0">
                <a:solidFill>
                  <a:srgbClr val="009AA6"/>
                </a:solidFill>
                <a:latin typeface="Arial"/>
                <a:cs typeface="Arial"/>
              </a:rPr>
              <a:t>entidades (1/2)</a:t>
            </a:r>
          </a:p>
        </p:txBody>
      </p:sp>
      <p:sp>
        <p:nvSpPr>
          <p:cNvPr id="33" name="AutoShap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7544" y="1635646"/>
            <a:ext cx="1800200" cy="647700"/>
          </a:xfrm>
          <a:prstGeom prst="homePlate">
            <a:avLst>
              <a:gd name="adj" fmla="val 32604"/>
            </a:avLst>
          </a:prstGeom>
          <a:solidFill>
            <a:srgbClr val="009AA6"/>
          </a:solidFill>
          <a:ln w="3175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0" rIns="108000" bIns="0" anchor="ctr"/>
          <a:lstStyle/>
          <a:p>
            <a:pPr algn="ctr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000000"/>
              </a:buClr>
              <a:buSzPct val="90000"/>
            </a:pPr>
            <a:r>
              <a:rPr lang="pt-PT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cador </a:t>
            </a:r>
            <a:r>
              <a:rPr lang="pt-PT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nico</a:t>
            </a:r>
            <a:endParaRPr lang="pt-PT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AutoShap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7544" y="2716138"/>
            <a:ext cx="1800200" cy="647700"/>
          </a:xfrm>
          <a:prstGeom prst="homePlate">
            <a:avLst>
              <a:gd name="adj" fmla="val 32604"/>
            </a:avLst>
          </a:prstGeom>
          <a:solidFill>
            <a:srgbClr val="009AA6"/>
          </a:solidFill>
          <a:ln w="3175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0" rIns="108000" bIns="0" anchor="ctr"/>
          <a:lstStyle/>
          <a:p>
            <a:pPr algn="ctr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000000"/>
              </a:buClr>
              <a:buSzPct val="90000"/>
            </a:pPr>
            <a:r>
              <a:rPr lang="pt-PT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nqueidade </a:t>
            </a:r>
            <a:r>
              <a:rPr lang="pt-PT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pt-PT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itos</a:t>
            </a:r>
            <a:endParaRPr lang="pt-PT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47888" y="1058863"/>
            <a:ext cx="2952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Descrição</a:t>
            </a:r>
            <a:endParaRPr lang="pt-PT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544232" y="1059582"/>
            <a:ext cx="2952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Vantagens</a:t>
            </a:r>
            <a:endParaRPr lang="pt-PT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2447888" y="1408879"/>
            <a:ext cx="295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5544232" y="1408879"/>
            <a:ext cx="295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2447848" y="1563638"/>
            <a:ext cx="2952080" cy="99603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just">
              <a:spcBef>
                <a:spcPct val="20000"/>
              </a:spcBef>
              <a:defRPr/>
            </a:pPr>
            <a:r>
              <a:rPr lang="pt-PT" sz="1200" dirty="0">
                <a:latin typeface="Arial"/>
                <a:cs typeface="Arial"/>
              </a:rPr>
              <a:t>Eleger em cada conceito ou entidade um </a:t>
            </a:r>
            <a:r>
              <a:rPr lang="pt-PT" sz="1200" dirty="0" smtClean="0">
                <a:latin typeface="Arial"/>
                <a:cs typeface="Arial"/>
              </a:rPr>
              <a:t>atributo </a:t>
            </a:r>
            <a:r>
              <a:rPr lang="pt-PT" sz="1200" dirty="0">
                <a:latin typeface="Arial"/>
                <a:cs typeface="Arial"/>
              </a:rPr>
              <a:t>que </a:t>
            </a:r>
            <a:r>
              <a:rPr lang="pt-PT" sz="1200" dirty="0" smtClean="0">
                <a:latin typeface="Arial"/>
                <a:cs typeface="Arial"/>
              </a:rPr>
              <a:t>identifique </a:t>
            </a:r>
            <a:r>
              <a:rPr lang="pt-PT" sz="1200" dirty="0">
                <a:latin typeface="Arial"/>
                <a:cs typeface="Arial"/>
              </a:rPr>
              <a:t>unívoca de cada instância em detrimento </a:t>
            </a:r>
            <a:r>
              <a:rPr lang="pt-PT" sz="1200" dirty="0" smtClean="0">
                <a:latin typeface="Arial"/>
                <a:cs typeface="Arial"/>
              </a:rPr>
              <a:t>de </a:t>
            </a:r>
            <a:r>
              <a:rPr lang="pt-PT" sz="1200" dirty="0">
                <a:latin typeface="Arial"/>
                <a:cs typeface="Arial"/>
              </a:rPr>
              <a:t>diferentes identificadores para o mesmo conceito definidos em cada </a:t>
            </a:r>
            <a:r>
              <a:rPr lang="pt-PT" sz="1200" dirty="0" smtClean="0">
                <a:latin typeface="Arial"/>
                <a:cs typeface="Arial"/>
              </a:rPr>
              <a:t>aplicação.</a:t>
            </a:r>
            <a:endParaRPr lang="pt-PT" sz="1200" dirty="0">
              <a:latin typeface="Arial"/>
              <a:cs typeface="Arial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544192" y="1563638"/>
            <a:ext cx="2952080" cy="81136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just">
              <a:spcBef>
                <a:spcPct val="20000"/>
              </a:spcBef>
              <a:defRPr sz="1400">
                <a:latin typeface="Arial"/>
                <a:cs typeface="Arial"/>
              </a:defRPr>
            </a:lvl1pPr>
          </a:lstStyle>
          <a:p>
            <a:r>
              <a:rPr lang="pt-PT" sz="1200" dirty="0"/>
              <a:t>Menor ambiguidade e maior facilidade na identificação da mesma instância da entidade nos diferentes sistemas da organização</a:t>
            </a:r>
            <a:r>
              <a:rPr lang="pt-PT" sz="1200" dirty="0" smtClean="0"/>
              <a:t>.</a:t>
            </a:r>
            <a:endParaRPr lang="pt-PT" sz="1200" dirty="0"/>
          </a:p>
        </p:txBody>
      </p:sp>
      <p:sp>
        <p:nvSpPr>
          <p:cNvPr id="41" name="TextBox 40"/>
          <p:cNvSpPr txBox="1"/>
          <p:nvPr/>
        </p:nvSpPr>
        <p:spPr>
          <a:xfrm>
            <a:off x="2447848" y="2624479"/>
            <a:ext cx="2952080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just">
              <a:spcBef>
                <a:spcPct val="20000"/>
              </a:spcBef>
              <a:defRPr sz="1200">
                <a:latin typeface="Arial"/>
                <a:cs typeface="Arial"/>
              </a:defRPr>
            </a:lvl1pPr>
          </a:lstStyle>
          <a:p>
            <a:r>
              <a:rPr lang="pt-PT" dirty="0"/>
              <a:t>Procurar que cada entidade contenha apenas os conceitos/ atributos  que a caracterizem.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544192" y="2624479"/>
            <a:ext cx="2952080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just">
              <a:spcBef>
                <a:spcPct val="20000"/>
              </a:spcBef>
              <a:defRPr sz="1400">
                <a:latin typeface="Arial"/>
                <a:cs typeface="Arial"/>
              </a:defRPr>
            </a:lvl1pPr>
          </a:lstStyle>
          <a:p>
            <a:r>
              <a:rPr lang="pt-PT" sz="1200" dirty="0"/>
              <a:t>Facilidade na construção de serviços específicos e reutilizáveis, via a atomização de conceitos</a:t>
            </a:r>
            <a:r>
              <a:rPr lang="pt-PT" sz="1200" dirty="0" smtClean="0"/>
              <a:t>.</a:t>
            </a:r>
            <a:endParaRPr lang="pt-PT" sz="1200" dirty="0"/>
          </a:p>
        </p:txBody>
      </p:sp>
      <p:sp>
        <p:nvSpPr>
          <p:cNvPr id="13" name="AutoShap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7544" y="3796258"/>
            <a:ext cx="1800200" cy="647700"/>
          </a:xfrm>
          <a:prstGeom prst="homePlate">
            <a:avLst>
              <a:gd name="adj" fmla="val 32604"/>
            </a:avLst>
          </a:prstGeom>
          <a:solidFill>
            <a:srgbClr val="009AA6"/>
          </a:solidFill>
          <a:ln w="3175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0" rIns="108000" bIns="0" anchor="ctr"/>
          <a:lstStyle/>
          <a:p>
            <a:pPr algn="ctr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000000"/>
              </a:buClr>
              <a:buSzPct val="90000"/>
            </a:pPr>
            <a:r>
              <a:rPr lang="pt-PT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sionamento</a:t>
            </a:r>
            <a:endParaRPr lang="pt-PT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447848" y="3651870"/>
            <a:ext cx="2952080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just">
              <a:spcBef>
                <a:spcPct val="20000"/>
              </a:spcBef>
              <a:defRPr sz="1200">
                <a:latin typeface="Arial"/>
                <a:cs typeface="Arial"/>
              </a:defRPr>
            </a:lvl1pPr>
          </a:lstStyle>
          <a:p>
            <a:r>
              <a:rPr lang="pt-PT" dirty="0"/>
              <a:t>Evoluir entidades no modelo </a:t>
            </a:r>
            <a:r>
              <a:rPr lang="pt-PT" dirty="0" smtClean="0"/>
              <a:t>canônico, </a:t>
            </a:r>
            <a:r>
              <a:rPr lang="pt-PT" dirty="0"/>
              <a:t>sempre que as normas de reutilização e normalização de entidades a isso obrigue</a:t>
            </a:r>
            <a:r>
              <a:rPr lang="pt-PT" dirty="0" smtClean="0"/>
              <a:t>.</a:t>
            </a:r>
            <a:endParaRPr lang="pt-PT" dirty="0"/>
          </a:p>
        </p:txBody>
      </p:sp>
      <p:sp>
        <p:nvSpPr>
          <p:cNvPr id="15" name="TextBox 14"/>
          <p:cNvSpPr txBox="1"/>
          <p:nvPr/>
        </p:nvSpPr>
        <p:spPr>
          <a:xfrm>
            <a:off x="5544192" y="3651870"/>
            <a:ext cx="2952080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just">
              <a:spcBef>
                <a:spcPct val="20000"/>
              </a:spcBef>
              <a:defRPr sz="1200">
                <a:latin typeface="Arial"/>
                <a:cs typeface="Arial"/>
              </a:defRPr>
            </a:lvl1pPr>
          </a:lstStyle>
          <a:p>
            <a:r>
              <a:rPr lang="pt-PT" dirty="0"/>
              <a:t>Manutenção de histórico de alterações e possibilidade de convivência de versões de entidades enriquecidas</a:t>
            </a:r>
            <a:r>
              <a:rPr lang="pt-PT" dirty="0" smtClean="0"/>
              <a:t>.</a:t>
            </a:r>
            <a:endParaRPr lang="pt-PT" dirty="0"/>
          </a:p>
        </p:txBody>
      </p:sp>
      <p:sp>
        <p:nvSpPr>
          <p:cNvPr id="17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37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8911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Princípios &amp; Melhores Práticas</a:t>
            </a:r>
          </a:p>
          <a:p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Normalização </a:t>
            </a:r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de </a:t>
            </a:r>
            <a:r>
              <a:rPr lang="pt-BR" i="1" dirty="0">
                <a:solidFill>
                  <a:srgbClr val="009AA6"/>
                </a:solidFill>
                <a:latin typeface="Arial"/>
                <a:cs typeface="Arial"/>
              </a:rPr>
              <a:t>entidades </a:t>
            </a:r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(2/2</a:t>
            </a:r>
            <a:r>
              <a:rPr lang="pt-BR" i="1" dirty="0">
                <a:solidFill>
                  <a:srgbClr val="009AA6"/>
                </a:solidFill>
                <a:latin typeface="Arial"/>
                <a:cs typeface="Arial"/>
              </a:rPr>
              <a:t>)</a:t>
            </a:r>
          </a:p>
        </p:txBody>
      </p:sp>
      <p:sp>
        <p:nvSpPr>
          <p:cNvPr id="33" name="AutoShap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7544" y="1635646"/>
            <a:ext cx="1800200" cy="647700"/>
          </a:xfrm>
          <a:prstGeom prst="homePlate">
            <a:avLst>
              <a:gd name="adj" fmla="val 32604"/>
            </a:avLst>
          </a:prstGeom>
          <a:solidFill>
            <a:srgbClr val="009AA6"/>
          </a:solidFill>
          <a:ln w="3175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0" rIns="108000" bIns="0" anchor="ctr"/>
          <a:lstStyle/>
          <a:p>
            <a:pPr algn="ctr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000000"/>
              </a:buClr>
              <a:buSzPct val="90000"/>
            </a:pPr>
            <a:r>
              <a:rPr lang="pt-PT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cador </a:t>
            </a:r>
            <a:r>
              <a:rPr lang="pt-PT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nico</a:t>
            </a:r>
            <a:endParaRPr lang="pt-PT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AutoShap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7544" y="2716138"/>
            <a:ext cx="1800200" cy="647700"/>
          </a:xfrm>
          <a:prstGeom prst="homePlate">
            <a:avLst>
              <a:gd name="adj" fmla="val 32604"/>
            </a:avLst>
          </a:prstGeom>
          <a:solidFill>
            <a:srgbClr val="009AA6"/>
          </a:solidFill>
          <a:ln w="3175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0" rIns="108000" bIns="0" anchor="ctr"/>
          <a:lstStyle/>
          <a:p>
            <a:pPr algn="ctr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000000"/>
              </a:buClr>
              <a:buSzPct val="90000"/>
            </a:pPr>
            <a:r>
              <a:rPr lang="pt-PT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nqueidade </a:t>
            </a:r>
            <a:r>
              <a:rPr lang="pt-PT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pt-PT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itos</a:t>
            </a:r>
            <a:endParaRPr lang="pt-PT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AutoShap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7544" y="3796258"/>
            <a:ext cx="1800200" cy="647700"/>
          </a:xfrm>
          <a:prstGeom prst="homePlate">
            <a:avLst>
              <a:gd name="adj" fmla="val 32604"/>
            </a:avLst>
          </a:prstGeom>
          <a:solidFill>
            <a:srgbClr val="009AA6"/>
          </a:solidFill>
          <a:ln w="3175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0" rIns="108000" bIns="0" anchor="ctr"/>
          <a:lstStyle/>
          <a:p>
            <a:pPr algn="ctr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000000"/>
              </a:buClr>
              <a:buSzPct val="90000"/>
            </a:pPr>
            <a:r>
              <a:rPr lang="pt-PT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sionamento</a:t>
            </a:r>
            <a:endParaRPr lang="pt-PT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Group 24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5724128" y="741805"/>
            <a:ext cx="1400175" cy="214312"/>
            <a:chOff x="7419975" y="3714752"/>
            <a:chExt cx="1400175" cy="214314"/>
          </a:xfrm>
        </p:grpSpPr>
        <p:sp>
          <p:nvSpPr>
            <p:cNvPr id="18" name="Text Box 62"/>
            <p:cNvSpPr txBox="1">
              <a:spLocks noChangeArrowheads="1"/>
            </p:cNvSpPr>
            <p:nvPr/>
          </p:nvSpPr>
          <p:spPr bwMode="auto">
            <a:xfrm>
              <a:off x="7419975" y="3737270"/>
              <a:ext cx="1400175" cy="1692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1" hangingPunct="1">
                <a:lnSpc>
                  <a:spcPct val="110000"/>
                </a:lnSpc>
                <a:spcAft>
                  <a:spcPct val="30000"/>
                </a:spcAft>
                <a:buClr>
                  <a:srgbClr val="000000"/>
                </a:buClr>
                <a:buSzPct val="90000"/>
                <a:buFont typeface="Arial Unicode MS" pitchFamily="34" charset="-128"/>
                <a:buNone/>
              </a:pPr>
              <a:r>
                <a:rPr lang="pt-PT" sz="1000" b="1">
                  <a:solidFill>
                    <a:srgbClr val="000000"/>
                  </a:solidFill>
                  <a:latin typeface="Trebuchet MS" pitchFamily="34" charset="0"/>
                </a:rPr>
                <a:t>Ilustrativo</a:t>
              </a:r>
            </a:p>
          </p:txBody>
        </p:sp>
        <p:sp>
          <p:nvSpPr>
            <p:cNvPr id="19" name="Line 64"/>
            <p:cNvSpPr>
              <a:spLocks noChangeShapeType="1"/>
            </p:cNvSpPr>
            <p:nvPr/>
          </p:nvSpPr>
          <p:spPr bwMode="auto">
            <a:xfrm>
              <a:off x="7726470" y="3929066"/>
              <a:ext cx="76393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pt-PT"/>
            </a:p>
          </p:txBody>
        </p:sp>
        <p:sp>
          <p:nvSpPr>
            <p:cNvPr id="20" name="Line 65"/>
            <p:cNvSpPr>
              <a:spLocks noChangeShapeType="1"/>
            </p:cNvSpPr>
            <p:nvPr/>
          </p:nvSpPr>
          <p:spPr bwMode="auto">
            <a:xfrm>
              <a:off x="7727675" y="3714752"/>
              <a:ext cx="76393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pt-PT"/>
            </a:p>
          </p:txBody>
        </p:sp>
      </p:grpSp>
      <p:sp>
        <p:nvSpPr>
          <p:cNvPr id="21" name="Text Box 12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849096" y="1277442"/>
            <a:ext cx="2304000" cy="464343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 algn="ctr">
            <a:noFill/>
            <a:miter lim="800000"/>
            <a:headEnd/>
            <a:tailEnd/>
          </a:ln>
        </p:spPr>
        <p:txBody>
          <a:bodyPr lIns="0" tIns="36000" rIns="0" bIns="0" anchor="ctr"/>
          <a:lstStyle/>
          <a:p>
            <a:pPr algn="ctr">
              <a:lnSpc>
                <a:spcPct val="80000"/>
              </a:lnSpc>
              <a:spcBef>
                <a:spcPct val="30000"/>
              </a:spcBef>
              <a:spcAft>
                <a:spcPct val="30000"/>
              </a:spcAft>
              <a:buClr>
                <a:srgbClr val="000000"/>
              </a:buClr>
              <a:buSzPct val="90000"/>
              <a:buFont typeface="Arial Unicode MS" pitchFamily="34" charset="-128"/>
              <a:buNone/>
            </a:pPr>
            <a:r>
              <a:rPr lang="pt-PT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idade não normalizada</a:t>
            </a:r>
          </a:p>
        </p:txBody>
      </p:sp>
      <p:graphicFrame>
        <p:nvGraphicFramePr>
          <p:cNvPr id="22" name="Tab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0629320"/>
              </p:ext>
            </p:extLst>
          </p:nvPr>
        </p:nvGraphicFramePr>
        <p:xfrm>
          <a:off x="2843808" y="1923678"/>
          <a:ext cx="2314577" cy="1306879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314577"/>
              </a:tblGrid>
              <a:tr h="255319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a de Cliente   </a:t>
                      </a:r>
                      <a:r>
                        <a:rPr lang="pt-PT" sz="105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v1.0)</a:t>
                      </a:r>
                      <a:endParaRPr lang="pt-PT" sz="105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</a:t>
                      </a:r>
                    </a:p>
                    <a:p>
                      <a:r>
                        <a:rPr lang="pt-PT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ado Cliente</a:t>
                      </a:r>
                    </a:p>
                    <a:p>
                      <a:r>
                        <a:rPr lang="pt-PT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tivo </a:t>
                      </a:r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ativação Cliente</a:t>
                      </a: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 Elementos Agregado Familiar</a:t>
                      </a: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 Filhos</a:t>
                      </a: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pt-PT" sz="105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3" name="Text Box 1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657408" y="1277442"/>
            <a:ext cx="2304000" cy="464343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 algn="ctr">
            <a:noFill/>
            <a:miter lim="800000"/>
            <a:headEnd/>
            <a:tailEnd/>
          </a:ln>
        </p:spPr>
        <p:txBody>
          <a:bodyPr lIns="0" tIns="36000" rIns="0" bIns="0" anchor="ctr"/>
          <a:lstStyle/>
          <a:p>
            <a:pPr algn="ctr">
              <a:lnSpc>
                <a:spcPct val="80000"/>
              </a:lnSpc>
              <a:spcBef>
                <a:spcPct val="30000"/>
              </a:spcBef>
              <a:spcAft>
                <a:spcPct val="30000"/>
              </a:spcAft>
              <a:buClr>
                <a:srgbClr val="000000"/>
              </a:buClr>
              <a:buSzPct val="90000"/>
              <a:buFont typeface="Arial Unicode MS" pitchFamily="34" charset="-128"/>
              <a:buNone/>
            </a:pPr>
            <a:r>
              <a:rPr lang="pt-PT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idades </a:t>
            </a:r>
            <a:r>
              <a:rPr lang="pt-PT" sz="10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malizadas </a:t>
            </a:r>
          </a:p>
          <a:p>
            <a:pPr algn="ctr">
              <a:lnSpc>
                <a:spcPct val="80000"/>
              </a:lnSpc>
              <a:spcBef>
                <a:spcPct val="30000"/>
              </a:spcBef>
              <a:spcAft>
                <a:spcPct val="30000"/>
              </a:spcAft>
              <a:buClr>
                <a:srgbClr val="000000"/>
              </a:buClr>
              <a:buSzPct val="90000"/>
              <a:buFont typeface="Arial Unicode MS" pitchFamily="34" charset="-128"/>
              <a:buNone/>
            </a:pPr>
            <a:r>
              <a:rPr lang="pt-PT" sz="10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pt-PT" sz="1000" b="1" i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</a:t>
            </a:r>
            <a:r>
              <a:rPr lang="pt-PT" sz="1000" b="1" i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000" b="1" i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ctices</a:t>
            </a:r>
            <a:r>
              <a:rPr lang="pt-PT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graphicFrame>
        <p:nvGraphicFramePr>
          <p:cNvPr id="24" name="Tab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0628206"/>
              </p:ext>
            </p:extLst>
          </p:nvPr>
        </p:nvGraphicFramePr>
        <p:xfrm>
          <a:off x="5652120" y="1923678"/>
          <a:ext cx="2314577" cy="1306879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314577"/>
              </a:tblGrid>
              <a:tr h="255319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a de Cliente  </a:t>
                      </a:r>
                      <a:r>
                        <a:rPr lang="pt-PT" sz="105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v2.0)</a:t>
                      </a:r>
                      <a:endParaRPr lang="pt-PT" sz="105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</a:t>
                      </a:r>
                    </a:p>
                    <a:p>
                      <a:r>
                        <a:rPr lang="pt-PT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ado Cliente</a:t>
                      </a:r>
                    </a:p>
                    <a:p>
                      <a:r>
                        <a:rPr lang="pt-PT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tivo </a:t>
                      </a:r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ativação Cliente</a:t>
                      </a: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gmento Cliente</a:t>
                      </a: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 Identificação Pessoal</a:t>
                      </a: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pt-PT" sz="105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8896906"/>
              </p:ext>
            </p:extLst>
          </p:nvPr>
        </p:nvGraphicFramePr>
        <p:xfrm>
          <a:off x="5652120" y="3337099"/>
          <a:ext cx="2314577" cy="1466899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314577"/>
              </a:tblGrid>
              <a:tr h="255319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fil</a:t>
                      </a:r>
                      <a:r>
                        <a:rPr lang="pt-PT" sz="105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icional </a:t>
                      </a:r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iente  </a:t>
                      </a:r>
                      <a:r>
                        <a:rPr lang="pt-PT" sz="105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v1.0)</a:t>
                      </a:r>
                      <a:endParaRPr lang="pt-PT" sz="105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</a:t>
                      </a: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 Elementos Agregado Familiar</a:t>
                      </a: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 Filhos</a:t>
                      </a: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dor Fixo</a:t>
                      </a: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dor Móvel</a:t>
                      </a: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dor Internet</a:t>
                      </a: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pt-PT" sz="105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6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38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6463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Princípios &amp; Melhores Práticas</a:t>
            </a:r>
          </a:p>
          <a:p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Padrões </a:t>
            </a:r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de </a:t>
            </a:r>
            <a:r>
              <a:rPr lang="pt-BR" i="1" dirty="0">
                <a:solidFill>
                  <a:srgbClr val="009AA6"/>
                </a:solidFill>
                <a:latin typeface="Arial"/>
                <a:cs typeface="Arial"/>
              </a:rPr>
              <a:t>modelação (</a:t>
            </a:r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1/3)</a:t>
            </a:r>
            <a:endParaRPr lang="pt-BR" i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33" name="AutoShap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7544" y="1635646"/>
            <a:ext cx="1800200" cy="647700"/>
          </a:xfrm>
          <a:prstGeom prst="homePlate">
            <a:avLst>
              <a:gd name="adj" fmla="val 32604"/>
            </a:avLst>
          </a:prstGeom>
          <a:solidFill>
            <a:srgbClr val="009AA6"/>
          </a:solidFill>
          <a:ln w="3175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0" rIns="108000" bIns="0" anchor="ctr"/>
          <a:lstStyle/>
          <a:p>
            <a:pPr algn="ctr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000000"/>
              </a:buClr>
              <a:buSzPct val="90000"/>
            </a:pPr>
            <a:r>
              <a:rPr lang="pt-PT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idades </a:t>
            </a:r>
            <a:r>
              <a:rPr lang="pt-PT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ples / compostas</a:t>
            </a:r>
            <a:endParaRPr lang="pt-PT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47888" y="1058863"/>
            <a:ext cx="2952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Descrição</a:t>
            </a:r>
            <a:endParaRPr lang="pt-PT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544232" y="1059582"/>
            <a:ext cx="2952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Vantagens</a:t>
            </a:r>
            <a:endParaRPr lang="pt-PT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2447888" y="1408879"/>
            <a:ext cx="295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5544232" y="1408879"/>
            <a:ext cx="295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2447848" y="1563638"/>
            <a:ext cx="2952080" cy="99603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just">
              <a:spcBef>
                <a:spcPct val="20000"/>
              </a:spcBef>
              <a:defRPr/>
            </a:pPr>
            <a:r>
              <a:rPr lang="pt-PT" sz="1200" dirty="0">
                <a:latin typeface="Arial"/>
                <a:cs typeface="Arial"/>
              </a:rPr>
              <a:t>Na modelação de entidades pode ser utilizado um padrão de definição de entidades simples que representam conceitos atómicos e que podem ser agregadas em entidades mais complexas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5544192" y="1563638"/>
            <a:ext cx="2952080" cy="81136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just">
              <a:spcBef>
                <a:spcPct val="20000"/>
              </a:spcBef>
              <a:defRPr sz="1400">
                <a:latin typeface="Arial"/>
                <a:cs typeface="Arial"/>
              </a:defRPr>
            </a:lvl1pPr>
          </a:lstStyle>
          <a:p>
            <a:r>
              <a:rPr lang="pt-PT" sz="1200" dirty="0"/>
              <a:t>Através deste padrão é possível agrupar conceitos atómicos e definir os atributos </a:t>
            </a:r>
            <a:r>
              <a:rPr lang="pt-PT" sz="1200" dirty="0" smtClean="0"/>
              <a:t>específicos </a:t>
            </a:r>
            <a:r>
              <a:rPr lang="pt-PT" sz="1200" dirty="0"/>
              <a:t>de entidades mais complexas </a:t>
            </a:r>
            <a:r>
              <a:rPr lang="pt-PT" sz="1200" dirty="0" smtClean="0"/>
              <a:t>em outra </a:t>
            </a:r>
            <a:r>
              <a:rPr lang="pt-PT" sz="1200" dirty="0"/>
              <a:t>entidade</a:t>
            </a:r>
            <a:r>
              <a:rPr lang="pt-PT" sz="1200" dirty="0" smtClean="0"/>
              <a:t>.</a:t>
            </a:r>
            <a:endParaRPr lang="pt-PT" sz="1200" dirty="0"/>
          </a:p>
        </p:txBody>
      </p:sp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839043"/>
              </p:ext>
            </p:extLst>
          </p:nvPr>
        </p:nvGraphicFramePr>
        <p:xfrm>
          <a:off x="6084368" y="2859782"/>
          <a:ext cx="1800000" cy="1626919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800000"/>
              </a:tblGrid>
              <a:tr h="255319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rada</a:t>
                      </a:r>
                      <a:endParaRPr lang="pt-PT" sz="105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PT" sz="105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 Morada</a:t>
                      </a:r>
                    </a:p>
                    <a:p>
                      <a:r>
                        <a:rPr lang="pt-PT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ua</a:t>
                      </a:r>
                    </a:p>
                    <a:p>
                      <a:r>
                        <a:rPr lang="pt-PT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úmero</a:t>
                      </a:r>
                    </a:p>
                    <a:p>
                      <a:r>
                        <a:rPr lang="pt-PT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mento</a:t>
                      </a:r>
                    </a:p>
                    <a:p>
                      <a:r>
                        <a:rPr lang="pt-PT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irro</a:t>
                      </a:r>
                    </a:p>
                    <a:p>
                      <a:r>
                        <a:rPr lang="pt-PT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P</a:t>
                      </a:r>
                    </a:p>
                    <a:p>
                      <a:r>
                        <a:rPr lang="pt-PT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dade</a:t>
                      </a: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pt-PT" sz="105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0247965"/>
              </p:ext>
            </p:extLst>
          </p:nvPr>
        </p:nvGraphicFramePr>
        <p:xfrm>
          <a:off x="3060032" y="2921055"/>
          <a:ext cx="1944000" cy="1306879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944000"/>
              </a:tblGrid>
              <a:tr h="255319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a de Cliente </a:t>
                      </a:r>
                      <a:endParaRPr lang="pt-PT" sz="105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</a:t>
                      </a:r>
                    </a:p>
                    <a:p>
                      <a:r>
                        <a:rPr lang="pt-PT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ado Cliente</a:t>
                      </a:r>
                    </a:p>
                    <a:p>
                      <a:r>
                        <a:rPr lang="pt-PT" sz="105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 Morada</a:t>
                      </a:r>
                      <a:endParaRPr lang="pt-PT" sz="1050" b="1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gmento Cliente</a:t>
                      </a: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 Identificação Pessoal</a:t>
                      </a: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pt-PT" sz="105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21" name="Group 2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667556" y="3651870"/>
            <a:ext cx="1400175" cy="214312"/>
            <a:chOff x="7419975" y="3714752"/>
            <a:chExt cx="1400175" cy="214314"/>
          </a:xfrm>
        </p:grpSpPr>
        <p:sp>
          <p:nvSpPr>
            <p:cNvPr id="22" name="Text Box 62"/>
            <p:cNvSpPr txBox="1">
              <a:spLocks noChangeArrowheads="1"/>
            </p:cNvSpPr>
            <p:nvPr/>
          </p:nvSpPr>
          <p:spPr bwMode="auto">
            <a:xfrm>
              <a:off x="7419975" y="3737270"/>
              <a:ext cx="1400175" cy="1692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1" hangingPunct="1">
                <a:lnSpc>
                  <a:spcPct val="110000"/>
                </a:lnSpc>
                <a:spcAft>
                  <a:spcPct val="30000"/>
                </a:spcAft>
                <a:buClr>
                  <a:srgbClr val="000000"/>
                </a:buClr>
                <a:buSzPct val="90000"/>
                <a:buFont typeface="Arial Unicode MS" pitchFamily="34" charset="-128"/>
                <a:buNone/>
              </a:pPr>
              <a:r>
                <a:rPr lang="pt-PT" sz="1000" b="1">
                  <a:solidFill>
                    <a:srgbClr val="000000"/>
                  </a:solidFill>
                  <a:latin typeface="Trebuchet MS" pitchFamily="34" charset="0"/>
                </a:rPr>
                <a:t>Ilustrativo</a:t>
              </a:r>
            </a:p>
          </p:txBody>
        </p:sp>
        <p:sp>
          <p:nvSpPr>
            <p:cNvPr id="23" name="Line 64"/>
            <p:cNvSpPr>
              <a:spLocks noChangeShapeType="1"/>
            </p:cNvSpPr>
            <p:nvPr/>
          </p:nvSpPr>
          <p:spPr bwMode="auto">
            <a:xfrm>
              <a:off x="7726470" y="3929066"/>
              <a:ext cx="76393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pt-PT"/>
            </a:p>
          </p:txBody>
        </p:sp>
        <p:sp>
          <p:nvSpPr>
            <p:cNvPr id="24" name="Line 65"/>
            <p:cNvSpPr>
              <a:spLocks noChangeShapeType="1"/>
            </p:cNvSpPr>
            <p:nvPr/>
          </p:nvSpPr>
          <p:spPr bwMode="auto">
            <a:xfrm>
              <a:off x="7727675" y="3714752"/>
              <a:ext cx="76393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pt-PT"/>
            </a:p>
          </p:txBody>
        </p:sp>
      </p:grpSp>
      <p:sp>
        <p:nvSpPr>
          <p:cNvPr id="2" name="Rectangle 1"/>
          <p:cNvSpPr/>
          <p:nvPr/>
        </p:nvSpPr>
        <p:spPr>
          <a:xfrm>
            <a:off x="2952304" y="3533594"/>
            <a:ext cx="2124000" cy="166534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noFill/>
            </a:endParaRPr>
          </a:p>
        </p:txBody>
      </p:sp>
      <p:sp>
        <p:nvSpPr>
          <p:cNvPr id="26" name="Freeform 25"/>
          <p:cNvSpPr/>
          <p:nvPr/>
        </p:nvSpPr>
        <p:spPr>
          <a:xfrm rot="16801067">
            <a:off x="5416977" y="2929988"/>
            <a:ext cx="422135" cy="875728"/>
          </a:xfrm>
          <a:custGeom>
            <a:avLst/>
            <a:gdLst>
              <a:gd name="connsiteX0" fmla="*/ 0 w 2176041"/>
              <a:gd name="connsiteY0" fmla="*/ 0 h 1307940"/>
              <a:gd name="connsiteX1" fmla="*/ 1041722 w 2176041"/>
              <a:gd name="connsiteY1" fmla="*/ 243069 h 1307940"/>
              <a:gd name="connsiteX2" fmla="*/ 2176041 w 2176041"/>
              <a:gd name="connsiteY2" fmla="*/ 1307940 h 1307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76041" h="1307940">
                <a:moveTo>
                  <a:pt x="0" y="0"/>
                </a:moveTo>
                <a:cubicBezTo>
                  <a:pt x="339524" y="12539"/>
                  <a:pt x="679049" y="25079"/>
                  <a:pt x="1041722" y="243069"/>
                </a:cubicBezTo>
                <a:cubicBezTo>
                  <a:pt x="1404395" y="461059"/>
                  <a:pt x="1790218" y="884499"/>
                  <a:pt x="2176041" y="1307940"/>
                </a:cubicBezTo>
              </a:path>
            </a:pathLst>
          </a:custGeom>
          <a:ln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P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39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1170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900000" y="2283718"/>
            <a:ext cx="7056376" cy="824841"/>
          </a:xfrm>
        </p:spPr>
        <p:txBody>
          <a:bodyPr/>
          <a:lstStyle/>
          <a:p>
            <a:r>
              <a:rPr lang="pt-BR" dirty="0" smtClean="0"/>
              <a:t>01 </a:t>
            </a:r>
            <a:r>
              <a:rPr lang="pt-BR" b="0" dirty="0" smtClean="0"/>
              <a:t>Governança </a:t>
            </a:r>
            <a:r>
              <a:rPr lang="pt-BR" b="0" dirty="0" smtClean="0"/>
              <a:t>de Dados para Integração</a:t>
            </a:r>
            <a:endParaRPr lang="pt-BR" b="0" dirty="0" smtClean="0"/>
          </a:p>
          <a:p>
            <a:r>
              <a:rPr lang="pt-BR" dirty="0"/>
              <a:t>02</a:t>
            </a:r>
            <a:r>
              <a:rPr lang="pt-BR" b="0" dirty="0" smtClean="0"/>
              <a:t> </a:t>
            </a:r>
            <a:r>
              <a:rPr lang="pt-BR" b="0" dirty="0" smtClean="0"/>
              <a:t>Implementando o Modelo Canônico</a:t>
            </a:r>
          </a:p>
          <a:p>
            <a:r>
              <a:rPr lang="pt-BR" dirty="0" smtClean="0"/>
              <a:t>03</a:t>
            </a:r>
            <a:r>
              <a:rPr lang="pt-BR" b="0" dirty="0" smtClean="0"/>
              <a:t> Princípios &amp; Melhores Práticas</a:t>
            </a:r>
            <a:endParaRPr lang="pt-BR" b="0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4</a:t>
            </a:fld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900112" y="627534"/>
            <a:ext cx="7056264" cy="738664"/>
          </a:xfrm>
        </p:spPr>
        <p:txBody>
          <a:bodyPr/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O presente </a:t>
            </a:r>
            <a:r>
              <a:rPr lang="pt-BR" b="1" dirty="0" smtClean="0">
                <a:latin typeface="Arial" panose="020B0604020202020204" pitchFamily="34" charset="0"/>
                <a:cs typeface="Arial" panose="020B0604020202020204" pitchFamily="34" charset="0"/>
              </a:rPr>
              <a:t>módulo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pretende introduzir o novo </a:t>
            </a:r>
            <a:r>
              <a:rPr lang="pt-BR" b="1" dirty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pt-BR" b="1" dirty="0" smtClean="0">
                <a:latin typeface="Arial" panose="020B0604020202020204" pitchFamily="34" charset="0"/>
                <a:cs typeface="Arial" panose="020B0604020202020204" pitchFamily="34" charset="0"/>
              </a:rPr>
              <a:t>odelo </a:t>
            </a:r>
            <a:r>
              <a:rPr lang="pt-BR" b="1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pt-BR" b="1" dirty="0" smtClean="0">
                <a:latin typeface="Arial" panose="020B0604020202020204" pitchFamily="34" charset="0"/>
                <a:cs typeface="Arial" panose="020B0604020202020204" pitchFamily="34" charset="0"/>
              </a:rPr>
              <a:t>orporativo de Dados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pt-B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ka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 Modelo Canônico), as boas práticas para a sua implementação e a relação com o modelo de 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governança da Arquitetura de Serviços da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Oi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Espaço Reservado para Texto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 smtClean="0"/>
              <a:t>44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98177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Princípios &amp; Melhores Práticas</a:t>
            </a:r>
          </a:p>
          <a:p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Padrões </a:t>
            </a:r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de </a:t>
            </a:r>
            <a:r>
              <a:rPr lang="pt-BR" i="1" dirty="0">
                <a:solidFill>
                  <a:srgbClr val="009AA6"/>
                </a:solidFill>
                <a:latin typeface="Arial"/>
                <a:cs typeface="Arial"/>
              </a:rPr>
              <a:t>modelação </a:t>
            </a:r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(2/3)</a:t>
            </a:r>
            <a:endParaRPr lang="pt-BR" i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33" name="AutoShap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7544" y="1635646"/>
            <a:ext cx="1800200" cy="647700"/>
          </a:xfrm>
          <a:prstGeom prst="homePlate">
            <a:avLst>
              <a:gd name="adj" fmla="val 32604"/>
            </a:avLst>
          </a:prstGeom>
          <a:solidFill>
            <a:srgbClr val="009AA6"/>
          </a:solidFill>
          <a:ln w="3175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0" rIns="108000" bIns="0" anchor="ctr"/>
          <a:lstStyle/>
          <a:p>
            <a:pPr algn="ctr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000000"/>
              </a:buClr>
              <a:buSzPct val="90000"/>
            </a:pPr>
            <a:r>
              <a:rPr lang="pt-PT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lização e especialização de entidades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7888" y="1058863"/>
            <a:ext cx="2952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Descrição</a:t>
            </a:r>
            <a:endParaRPr lang="pt-PT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544232" y="1059582"/>
            <a:ext cx="2952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Vantagens</a:t>
            </a:r>
            <a:endParaRPr lang="pt-PT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2447888" y="1408879"/>
            <a:ext cx="295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5544232" y="1408879"/>
            <a:ext cx="295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2447848" y="1563638"/>
            <a:ext cx="2952080" cy="99603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just">
              <a:spcBef>
                <a:spcPct val="20000"/>
              </a:spcBef>
              <a:defRPr/>
            </a:pPr>
            <a:r>
              <a:rPr lang="pt-PT" sz="1200" dirty="0">
                <a:latin typeface="Arial"/>
                <a:cs typeface="Arial"/>
              </a:rPr>
              <a:t>Utilizar o padrão de herança definindo várias entidades, onde a entidade genérica tem apenas os atributos comuns a todas e as especializadas os atributos específicos para cada tipificação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5544192" y="1563638"/>
            <a:ext cx="2952080" cy="99603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just">
              <a:spcBef>
                <a:spcPct val="20000"/>
              </a:spcBef>
              <a:defRPr sz="1400">
                <a:latin typeface="Arial"/>
                <a:cs typeface="Arial"/>
              </a:defRPr>
            </a:lvl1pPr>
          </a:lstStyle>
          <a:p>
            <a:r>
              <a:rPr lang="pt-PT" sz="1200" dirty="0" smtClean="0"/>
              <a:t>Evita-se </a:t>
            </a:r>
            <a:r>
              <a:rPr lang="pt-PT" sz="1200" dirty="0"/>
              <a:t>a utilização de entidades com um número extenso de atributos e torna mais simples e compreensível a disponibilização </a:t>
            </a:r>
            <a:r>
              <a:rPr lang="pt-PT" sz="1200" dirty="0" smtClean="0"/>
              <a:t>e utilização de </a:t>
            </a:r>
            <a:r>
              <a:rPr lang="pt-PT" sz="1200" dirty="0"/>
              <a:t>serviços sobre estas </a:t>
            </a:r>
            <a:r>
              <a:rPr lang="pt-PT" sz="1200" dirty="0" smtClean="0"/>
              <a:t>entidades.</a:t>
            </a:r>
            <a:endParaRPr lang="pt-PT" sz="1200" dirty="0"/>
          </a:p>
        </p:txBody>
      </p:sp>
      <p:grpSp>
        <p:nvGrpSpPr>
          <p:cNvPr id="21" name="Group 2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667556" y="3651870"/>
            <a:ext cx="1400175" cy="214312"/>
            <a:chOff x="7419975" y="3714752"/>
            <a:chExt cx="1400175" cy="214314"/>
          </a:xfrm>
        </p:grpSpPr>
        <p:sp>
          <p:nvSpPr>
            <p:cNvPr id="22" name="Text Box 62"/>
            <p:cNvSpPr txBox="1">
              <a:spLocks noChangeArrowheads="1"/>
            </p:cNvSpPr>
            <p:nvPr/>
          </p:nvSpPr>
          <p:spPr bwMode="auto">
            <a:xfrm>
              <a:off x="7419975" y="3737270"/>
              <a:ext cx="1400175" cy="1692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1" hangingPunct="1">
                <a:lnSpc>
                  <a:spcPct val="110000"/>
                </a:lnSpc>
                <a:spcAft>
                  <a:spcPct val="30000"/>
                </a:spcAft>
                <a:buClr>
                  <a:srgbClr val="000000"/>
                </a:buClr>
                <a:buSzPct val="90000"/>
                <a:buFont typeface="Arial Unicode MS" pitchFamily="34" charset="-128"/>
                <a:buNone/>
              </a:pPr>
              <a:r>
                <a:rPr lang="pt-PT" sz="1000" b="1">
                  <a:solidFill>
                    <a:srgbClr val="000000"/>
                  </a:solidFill>
                  <a:latin typeface="Trebuchet MS" pitchFamily="34" charset="0"/>
                </a:rPr>
                <a:t>Ilustrativo</a:t>
              </a:r>
            </a:p>
          </p:txBody>
        </p:sp>
        <p:sp>
          <p:nvSpPr>
            <p:cNvPr id="23" name="Line 64"/>
            <p:cNvSpPr>
              <a:spLocks noChangeShapeType="1"/>
            </p:cNvSpPr>
            <p:nvPr/>
          </p:nvSpPr>
          <p:spPr bwMode="auto">
            <a:xfrm>
              <a:off x="7726470" y="3929066"/>
              <a:ext cx="76393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pt-PT"/>
            </a:p>
          </p:txBody>
        </p:sp>
        <p:sp>
          <p:nvSpPr>
            <p:cNvPr id="24" name="Line 65"/>
            <p:cNvSpPr>
              <a:spLocks noChangeShapeType="1"/>
            </p:cNvSpPr>
            <p:nvPr/>
          </p:nvSpPr>
          <p:spPr bwMode="auto">
            <a:xfrm>
              <a:off x="7727675" y="3714752"/>
              <a:ext cx="76393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pt-PT"/>
            </a:p>
          </p:txBody>
        </p:sp>
      </p:grp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7053551"/>
              </p:ext>
            </p:extLst>
          </p:nvPr>
        </p:nvGraphicFramePr>
        <p:xfrm>
          <a:off x="2627784" y="2737039"/>
          <a:ext cx="1476000" cy="986839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76000"/>
              </a:tblGrid>
              <a:tr h="255319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dade</a:t>
                      </a:r>
                      <a:endParaRPr lang="pt-PT" sz="105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</a:t>
                      </a:r>
                    </a:p>
                    <a:p>
                      <a:r>
                        <a:rPr lang="pt-PT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</a:t>
                      </a:r>
                    </a:p>
                    <a:p>
                      <a:r>
                        <a:rPr lang="pt-PT" sz="105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 Preferencial</a:t>
                      </a:r>
                      <a:endParaRPr lang="pt-PT" sz="1050" b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pt-PT" sz="105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8" name="Table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2086113"/>
              </p:ext>
            </p:extLst>
          </p:nvPr>
        </p:nvGraphicFramePr>
        <p:xfrm>
          <a:off x="3476093" y="4033183"/>
          <a:ext cx="1854040" cy="986839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854040"/>
              </a:tblGrid>
              <a:tr h="255319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ssoa</a:t>
                      </a:r>
                      <a:endParaRPr lang="pt-PT" sz="105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</a:t>
                      </a: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 Identificação Pessoal</a:t>
                      </a: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cionalidade</a:t>
                      </a: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pt-PT" sz="105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9" name="Table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2215841"/>
              </p:ext>
            </p:extLst>
          </p:nvPr>
        </p:nvGraphicFramePr>
        <p:xfrm>
          <a:off x="2051720" y="4033183"/>
          <a:ext cx="1208349" cy="826819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08349"/>
              </a:tblGrid>
              <a:tr h="255319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ganização</a:t>
                      </a:r>
                      <a:endParaRPr lang="pt-PT" sz="105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</a:t>
                      </a: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NPJ</a:t>
                      </a: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pt-PT" sz="105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0" name="Table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9137334"/>
              </p:ext>
            </p:extLst>
          </p:nvPr>
        </p:nvGraphicFramePr>
        <p:xfrm>
          <a:off x="6516216" y="3193083"/>
          <a:ext cx="1799822" cy="1466899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799822"/>
              </a:tblGrid>
              <a:tr h="255319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dade</a:t>
                      </a:r>
                      <a:endParaRPr lang="pt-PT" sz="105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</a:t>
                      </a:r>
                    </a:p>
                    <a:p>
                      <a:r>
                        <a:rPr lang="pt-PT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</a:t>
                      </a:r>
                    </a:p>
                    <a:p>
                      <a:r>
                        <a:rPr lang="pt-PT" sz="105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 Preferencial</a:t>
                      </a:r>
                    </a:p>
                    <a:p>
                      <a:r>
                        <a:rPr lang="pt-PT" sz="105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cionalidade</a:t>
                      </a:r>
                    </a:p>
                    <a:p>
                      <a:r>
                        <a:rPr lang="pt-PT" sz="105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NPJ</a:t>
                      </a:r>
                    </a:p>
                    <a:p>
                      <a:r>
                        <a:rPr lang="pt-PT" sz="105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 Identificação Pessoal</a:t>
                      </a:r>
                    </a:p>
                    <a:p>
                      <a:r>
                        <a:rPr lang="pt-PT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pt-PT" sz="105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3995936" y="2859782"/>
            <a:ext cx="1512168" cy="648072"/>
          </a:xfrm>
          <a:prstGeom prst="rect">
            <a:avLst/>
          </a:prstGeom>
          <a:noFill/>
          <a:ln w="3175"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0" rIns="108000" bIns="0" anchor="ctr"/>
          <a:lstStyle/>
          <a:p>
            <a:pPr algn="ctr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000000"/>
              </a:buClr>
              <a:buSzPct val="90000"/>
            </a:pPr>
            <a:r>
              <a:rPr lang="pt-PT" sz="14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drão de herança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516216" y="2643758"/>
            <a:ext cx="1728192" cy="648072"/>
          </a:xfrm>
          <a:prstGeom prst="rect">
            <a:avLst/>
          </a:prstGeom>
          <a:noFill/>
          <a:ln w="3175"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0" rIns="108000" bIns="0" anchor="ctr"/>
          <a:lstStyle/>
          <a:p>
            <a:pPr algn="ctr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000000"/>
              </a:buClr>
              <a:buSzPct val="90000"/>
            </a:pPr>
            <a:r>
              <a:rPr lang="pt-PT" sz="14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idade genérica</a:t>
            </a:r>
          </a:p>
        </p:txBody>
      </p:sp>
      <p:cxnSp>
        <p:nvCxnSpPr>
          <p:cNvPr id="7" name="Elbow Connector 6"/>
          <p:cNvCxnSpPr>
            <a:stCxn id="29" idx="0"/>
            <a:endCxn id="27" idx="2"/>
          </p:cNvCxnSpPr>
          <p:nvPr/>
        </p:nvCxnSpPr>
        <p:spPr>
          <a:xfrm rot="5400000" flipH="1" flipV="1">
            <a:off x="2856187" y="3523586"/>
            <a:ext cx="309305" cy="709890"/>
          </a:xfrm>
          <a:prstGeom prst="bentConnector3">
            <a:avLst>
              <a:gd name="adj1" fmla="val 50000"/>
            </a:avLst>
          </a:prstGeom>
          <a:ln w="31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28" idx="0"/>
            <a:endCxn id="27" idx="2"/>
          </p:cNvCxnSpPr>
          <p:nvPr/>
        </p:nvCxnSpPr>
        <p:spPr>
          <a:xfrm rot="16200000" flipV="1">
            <a:off x="3729797" y="3359866"/>
            <a:ext cx="309305" cy="1037329"/>
          </a:xfrm>
          <a:prstGeom prst="bentConnector3">
            <a:avLst/>
          </a:prstGeom>
          <a:ln w="31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40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6219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Princípios &amp; Melhores Práticas</a:t>
            </a:r>
          </a:p>
          <a:p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Padrões </a:t>
            </a:r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de </a:t>
            </a:r>
            <a:r>
              <a:rPr lang="pt-BR" i="1" dirty="0">
                <a:solidFill>
                  <a:srgbClr val="009AA6"/>
                </a:solidFill>
                <a:latin typeface="Arial"/>
                <a:cs typeface="Arial"/>
              </a:rPr>
              <a:t>modelação </a:t>
            </a:r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(</a:t>
            </a:r>
            <a:r>
              <a:rPr lang="pt-BR" i="1" dirty="0">
                <a:solidFill>
                  <a:srgbClr val="009AA6"/>
                </a:solidFill>
                <a:latin typeface="Arial"/>
                <a:cs typeface="Arial"/>
              </a:rPr>
              <a:t>3</a:t>
            </a:r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/3)</a:t>
            </a:r>
            <a:endParaRPr lang="pt-BR" i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33" name="AutoShap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7544" y="1635646"/>
            <a:ext cx="1800200" cy="647700"/>
          </a:xfrm>
          <a:prstGeom prst="homePlate">
            <a:avLst>
              <a:gd name="adj" fmla="val 32604"/>
            </a:avLst>
          </a:prstGeom>
          <a:solidFill>
            <a:srgbClr val="009AA6"/>
          </a:solidFill>
          <a:ln w="3175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0" rIns="108000" bIns="0" anchor="ctr"/>
          <a:lstStyle/>
          <a:p>
            <a:pPr algn="ctr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000000"/>
              </a:buClr>
              <a:buSzPct val="90000"/>
            </a:pPr>
            <a:r>
              <a:rPr lang="pt-PT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acterística / </a:t>
            </a:r>
            <a:r>
              <a:rPr lang="pt-PT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or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7888" y="1058863"/>
            <a:ext cx="2952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Descrição</a:t>
            </a:r>
            <a:endParaRPr lang="pt-PT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544232" y="1059582"/>
            <a:ext cx="2952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Vantagens</a:t>
            </a:r>
            <a:endParaRPr lang="pt-PT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2447888" y="1408879"/>
            <a:ext cx="295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5544232" y="1408879"/>
            <a:ext cx="295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2447848" y="1563638"/>
            <a:ext cx="2952080" cy="118069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just">
              <a:spcBef>
                <a:spcPct val="20000"/>
              </a:spcBef>
              <a:defRPr sz="1200">
                <a:latin typeface="Arial"/>
                <a:cs typeface="Arial"/>
              </a:defRPr>
            </a:lvl1pPr>
          </a:lstStyle>
          <a:p>
            <a:r>
              <a:rPr lang="pt-PT" dirty="0"/>
              <a:t>Utilizar o padrão de característica/valor, onde a entidade principal tem os atributos comuns e a entidade de características/valor os atributos/valores que só são relevantes para determinado tipo de entidades principais</a:t>
            </a:r>
            <a:r>
              <a:rPr lang="pt-PT" dirty="0" smtClean="0"/>
              <a:t>.</a:t>
            </a:r>
            <a:endParaRPr lang="pt-PT" dirty="0"/>
          </a:p>
        </p:txBody>
      </p:sp>
      <p:sp>
        <p:nvSpPr>
          <p:cNvPr id="40" name="TextBox 39"/>
          <p:cNvSpPr txBox="1"/>
          <p:nvPr/>
        </p:nvSpPr>
        <p:spPr>
          <a:xfrm>
            <a:off x="5544192" y="1563638"/>
            <a:ext cx="2952080" cy="136536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just">
              <a:spcBef>
                <a:spcPct val="20000"/>
              </a:spcBef>
              <a:defRPr sz="1400">
                <a:latin typeface="Arial"/>
                <a:cs typeface="Arial"/>
              </a:defRPr>
            </a:lvl1pPr>
          </a:lstStyle>
          <a:p>
            <a:r>
              <a:rPr lang="pt-PT" sz="1200" dirty="0" smtClean="0"/>
              <a:t>Permite </a:t>
            </a:r>
            <a:r>
              <a:rPr lang="pt-PT" sz="1200" dirty="0"/>
              <a:t>tirar partido das funcionalidades OOTB (</a:t>
            </a:r>
            <a:r>
              <a:rPr lang="pt-PT" sz="1200" i="1" dirty="0"/>
              <a:t>out </a:t>
            </a:r>
            <a:r>
              <a:rPr lang="pt-PT" sz="1200" i="1" dirty="0" err="1"/>
              <a:t>of</a:t>
            </a:r>
            <a:r>
              <a:rPr lang="pt-PT" sz="1200" i="1" dirty="0"/>
              <a:t> </a:t>
            </a:r>
            <a:r>
              <a:rPr lang="pt-PT" sz="1200" i="1" dirty="0" err="1"/>
              <a:t>the</a:t>
            </a:r>
            <a:r>
              <a:rPr lang="pt-PT" sz="1200" i="1" dirty="0"/>
              <a:t> box</a:t>
            </a:r>
            <a:r>
              <a:rPr lang="pt-PT" sz="1200" dirty="0"/>
              <a:t>) de </a:t>
            </a:r>
            <a:r>
              <a:rPr lang="pt-PT" sz="1200" dirty="0" smtClean="0"/>
              <a:t>sistemas que </a:t>
            </a:r>
            <a:r>
              <a:rPr lang="pt-PT" sz="1200" dirty="0"/>
              <a:t>lidem com este tipo de modelação mais flexível, potenciando uma resposta mais dinâmica na adequação aplicacional, das interfaces expostas e sua reutilização face a novos requisitos</a:t>
            </a:r>
            <a:r>
              <a:rPr lang="pt-PT" sz="1200" dirty="0" smtClean="0"/>
              <a:t>.</a:t>
            </a:r>
            <a:endParaRPr lang="pt-PT" sz="1200" dirty="0"/>
          </a:p>
        </p:txBody>
      </p:sp>
      <p:grpSp>
        <p:nvGrpSpPr>
          <p:cNvPr id="90" name="Group 2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667556" y="2571750"/>
            <a:ext cx="1400175" cy="214312"/>
            <a:chOff x="7419975" y="3714752"/>
            <a:chExt cx="1400175" cy="214314"/>
          </a:xfrm>
        </p:grpSpPr>
        <p:sp>
          <p:nvSpPr>
            <p:cNvPr id="91" name="Text Box 62"/>
            <p:cNvSpPr txBox="1">
              <a:spLocks noChangeArrowheads="1"/>
            </p:cNvSpPr>
            <p:nvPr/>
          </p:nvSpPr>
          <p:spPr bwMode="auto">
            <a:xfrm>
              <a:off x="7419975" y="3737270"/>
              <a:ext cx="1400175" cy="1692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1" hangingPunct="1">
                <a:lnSpc>
                  <a:spcPct val="110000"/>
                </a:lnSpc>
                <a:spcAft>
                  <a:spcPct val="30000"/>
                </a:spcAft>
                <a:buClr>
                  <a:srgbClr val="000000"/>
                </a:buClr>
                <a:buSzPct val="90000"/>
                <a:buFont typeface="Arial Unicode MS" pitchFamily="34" charset="-128"/>
                <a:buNone/>
              </a:pPr>
              <a:r>
                <a:rPr lang="pt-PT" sz="1000" b="1" dirty="0">
                  <a:solidFill>
                    <a:srgbClr val="000000"/>
                  </a:solidFill>
                  <a:latin typeface="Trebuchet MS" pitchFamily="34" charset="0"/>
                </a:rPr>
                <a:t>Ilustrativo</a:t>
              </a:r>
            </a:p>
          </p:txBody>
        </p:sp>
        <p:sp>
          <p:nvSpPr>
            <p:cNvPr id="92" name="Line 64"/>
            <p:cNvSpPr>
              <a:spLocks noChangeShapeType="1"/>
            </p:cNvSpPr>
            <p:nvPr/>
          </p:nvSpPr>
          <p:spPr bwMode="auto">
            <a:xfrm>
              <a:off x="7726470" y="3929066"/>
              <a:ext cx="76393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pt-PT"/>
            </a:p>
          </p:txBody>
        </p:sp>
        <p:sp>
          <p:nvSpPr>
            <p:cNvPr id="93" name="Line 65"/>
            <p:cNvSpPr>
              <a:spLocks noChangeShapeType="1"/>
            </p:cNvSpPr>
            <p:nvPr/>
          </p:nvSpPr>
          <p:spPr bwMode="auto">
            <a:xfrm>
              <a:off x="7727675" y="3714752"/>
              <a:ext cx="76393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pt-PT"/>
            </a:p>
          </p:txBody>
        </p:sp>
      </p:grpSp>
      <p:graphicFrame>
        <p:nvGraphicFramePr>
          <p:cNvPr id="94" name="Table 9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4622255"/>
              </p:ext>
            </p:extLst>
          </p:nvPr>
        </p:nvGraphicFramePr>
        <p:xfrm>
          <a:off x="377064" y="2865110"/>
          <a:ext cx="792000" cy="432323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792000"/>
              </a:tblGrid>
              <a:tr h="177575">
                <a:tc>
                  <a:txBody>
                    <a:bodyPr/>
                    <a:lstStyle/>
                    <a:p>
                      <a:r>
                        <a:rPr lang="pt-PT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to</a:t>
                      </a:r>
                      <a:endParaRPr lang="pt-PT" sz="8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18963">
                <a:tc>
                  <a:txBody>
                    <a:bodyPr/>
                    <a:lstStyle/>
                    <a:p>
                      <a:r>
                        <a:rPr lang="pt-PT" sz="8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lemóvel</a:t>
                      </a: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95" name="Table 9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7479576"/>
              </p:ext>
            </p:extLst>
          </p:nvPr>
        </p:nvGraphicFramePr>
        <p:xfrm>
          <a:off x="1025136" y="3369166"/>
          <a:ext cx="2340000" cy="432323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340000"/>
              </a:tblGrid>
              <a:tr h="177575">
                <a:tc>
                  <a:txBody>
                    <a:bodyPr/>
                    <a:lstStyle/>
                    <a:p>
                      <a:r>
                        <a:rPr lang="pt-PT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racterística da Especificação de Produto</a:t>
                      </a:r>
                    </a:p>
                  </a:txBody>
                  <a:tcPr/>
                </a:tc>
              </a:tr>
              <a:tr h="218963">
                <a:tc>
                  <a:txBody>
                    <a:bodyPr/>
                    <a:lstStyle/>
                    <a:p>
                      <a:r>
                        <a:rPr lang="pt-PT" sz="8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:</a:t>
                      </a:r>
                      <a:r>
                        <a:rPr lang="pt-PT" sz="8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or</a:t>
                      </a:r>
                      <a:endParaRPr lang="pt-PT" sz="8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96" name="Table 9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3493846"/>
              </p:ext>
            </p:extLst>
          </p:nvPr>
        </p:nvGraphicFramePr>
        <p:xfrm>
          <a:off x="1673208" y="3873222"/>
          <a:ext cx="2880000" cy="44777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880000"/>
              </a:tblGrid>
              <a:tr h="190103">
                <a:tc>
                  <a:txBody>
                    <a:bodyPr/>
                    <a:lstStyle/>
                    <a:p>
                      <a:r>
                        <a:rPr lang="pt-PT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or da Característica da Especificação de Produto</a:t>
                      </a:r>
                    </a:p>
                  </a:txBody>
                  <a:tcPr/>
                </a:tc>
              </a:tr>
              <a:tr h="234410">
                <a:tc>
                  <a:txBody>
                    <a:bodyPr/>
                    <a:lstStyle/>
                    <a:p>
                      <a:r>
                        <a:rPr lang="pt-PT" sz="8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to</a:t>
                      </a: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97" name="Table 9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4936438"/>
              </p:ext>
            </p:extLst>
          </p:nvPr>
        </p:nvGraphicFramePr>
        <p:xfrm>
          <a:off x="1683388" y="4377278"/>
          <a:ext cx="2880000" cy="4267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880000"/>
              </a:tblGrid>
              <a:tr h="128985">
                <a:tc>
                  <a:txBody>
                    <a:bodyPr/>
                    <a:lstStyle/>
                    <a:p>
                      <a:r>
                        <a:rPr lang="pt-PT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or da Característica da Especificação de Produto</a:t>
                      </a:r>
                    </a:p>
                  </a:txBody>
                  <a:tcPr/>
                </a:tc>
              </a:tr>
              <a:tr h="159047">
                <a:tc>
                  <a:txBody>
                    <a:bodyPr/>
                    <a:lstStyle/>
                    <a:p>
                      <a:r>
                        <a:rPr lang="pt-PT" sz="8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anco</a:t>
                      </a: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98" name="Table 9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6074903"/>
              </p:ext>
            </p:extLst>
          </p:nvPr>
        </p:nvGraphicFramePr>
        <p:xfrm>
          <a:off x="4331913" y="3013226"/>
          <a:ext cx="1013663" cy="81357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013663"/>
              </a:tblGrid>
              <a:tr h="234451">
                <a:tc>
                  <a:txBody>
                    <a:bodyPr/>
                    <a:lstStyle/>
                    <a:p>
                      <a:r>
                        <a:rPr lang="pt-PT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</a:t>
                      </a:r>
                    </a:p>
                  </a:txBody>
                  <a:tcPr/>
                </a:tc>
              </a:tr>
              <a:tr h="289094">
                <a:tc>
                  <a:txBody>
                    <a:bodyPr/>
                    <a:lstStyle/>
                    <a:p>
                      <a:r>
                        <a:rPr lang="pt-PT" sz="8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mensão</a:t>
                      </a:r>
                    </a:p>
                    <a:p>
                      <a:r>
                        <a:rPr lang="pt-PT" sz="8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r</a:t>
                      </a:r>
                    </a:p>
                    <a:p>
                      <a:r>
                        <a:rPr lang="pt-PT" sz="8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ca</a:t>
                      </a:r>
                    </a:p>
                    <a:p>
                      <a:r>
                        <a:rPr lang="pt-PT" sz="8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6" name="Elbow Connector 5"/>
          <p:cNvCxnSpPr>
            <a:stCxn id="94" idx="2"/>
            <a:endCxn id="95" idx="1"/>
          </p:cNvCxnSpPr>
          <p:nvPr/>
        </p:nvCxnSpPr>
        <p:spPr>
          <a:xfrm rot="16200000" flipH="1">
            <a:off x="755153" y="3315344"/>
            <a:ext cx="287894" cy="252072"/>
          </a:xfrm>
          <a:prstGeom prst="bentConnector2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Elbow Connector 98"/>
          <p:cNvCxnSpPr>
            <a:endCxn id="96" idx="1"/>
          </p:cNvCxnSpPr>
          <p:nvPr/>
        </p:nvCxnSpPr>
        <p:spPr>
          <a:xfrm>
            <a:off x="1323348" y="3829683"/>
            <a:ext cx="349860" cy="267424"/>
          </a:xfrm>
          <a:prstGeom prst="bentConnector3">
            <a:avLst>
              <a:gd name="adj1" fmla="val -915"/>
            </a:avLst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Elbow Connector 99"/>
          <p:cNvCxnSpPr>
            <a:endCxn id="97" idx="1"/>
          </p:cNvCxnSpPr>
          <p:nvPr/>
        </p:nvCxnSpPr>
        <p:spPr>
          <a:xfrm rot="16200000" flipH="1">
            <a:off x="1108794" y="4016043"/>
            <a:ext cx="789149" cy="360040"/>
          </a:xfrm>
          <a:prstGeom prst="bentConnector2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4" name="Line 29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3365136" y="3758497"/>
            <a:ext cx="966777" cy="68299"/>
          </a:xfrm>
          <a:prstGeom prst="line">
            <a:avLst/>
          </a:prstGeom>
          <a:noFill/>
          <a:ln w="12700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/>
          <a:lstStyle/>
          <a:p>
            <a:pPr eaLnBrk="1" hangingPunct="1">
              <a:defRPr/>
            </a:pPr>
            <a:endParaRPr lang="pt-PT">
              <a:ln w="9525">
                <a:solidFill>
                  <a:schemeClr val="tx1"/>
                </a:solidFill>
              </a:ln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2" name="Line 29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 flipV="1">
            <a:off x="3365136" y="3013226"/>
            <a:ext cx="966777" cy="428153"/>
          </a:xfrm>
          <a:prstGeom prst="line">
            <a:avLst/>
          </a:prstGeom>
          <a:noFill/>
          <a:ln w="12700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/>
          <a:lstStyle/>
          <a:p>
            <a:pPr eaLnBrk="1" hangingPunct="1">
              <a:defRPr/>
            </a:pPr>
            <a:endParaRPr lang="pt-PT">
              <a:ln w="9525">
                <a:solidFill>
                  <a:schemeClr val="tx1"/>
                </a:solidFill>
              </a:ln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4320088" y="3413388"/>
            <a:ext cx="1044000" cy="126000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noFill/>
            </a:endParaRPr>
          </a:p>
        </p:txBody>
      </p:sp>
      <p:sp>
        <p:nvSpPr>
          <p:cNvPr id="26" name="Rectangle 1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608066" y="2967707"/>
            <a:ext cx="3500438" cy="1692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1" hangingPunct="1">
              <a:defRPr/>
            </a:pPr>
            <a:r>
              <a:rPr lang="pt-PT" sz="1100" b="1" dirty="0">
                <a:latin typeface="Arial" pitchFamily="34" charset="0"/>
                <a:cs typeface="Arial" pitchFamily="34" charset="0"/>
              </a:rPr>
              <a:t>&lt;Produto &gt;</a:t>
            </a:r>
            <a:endParaRPr lang="pt-PT" sz="1100" dirty="0">
              <a:latin typeface="Arial" pitchFamily="34" charset="0"/>
              <a:cs typeface="Arial" pitchFamily="34" charset="0"/>
            </a:endParaRPr>
          </a:p>
          <a:p>
            <a:pPr marL="446088" eaLnBrk="1" hangingPunct="1">
              <a:defRPr/>
            </a:pPr>
            <a:r>
              <a:rPr lang="pt-PT" sz="1100" dirty="0">
                <a:latin typeface="Arial" pitchFamily="34" charset="0"/>
                <a:cs typeface="Arial" pitchFamily="34" charset="0"/>
              </a:rPr>
              <a:t>&lt;nome&gt; Telemóvel &lt;/nome&gt;</a:t>
            </a:r>
          </a:p>
          <a:p>
            <a:pPr lvl="1" eaLnBrk="1" hangingPunct="1">
              <a:defRPr/>
            </a:pPr>
            <a:r>
              <a:rPr lang="pt-PT" sz="1100" dirty="0">
                <a:latin typeface="Arial" pitchFamily="34" charset="0"/>
                <a:cs typeface="Arial" pitchFamily="34" charset="0"/>
              </a:rPr>
              <a:t>&lt;Estado&gt; Activo &lt;/Estado&gt;</a:t>
            </a:r>
          </a:p>
          <a:p>
            <a:pPr lvl="1" eaLnBrk="1" hangingPunct="1">
              <a:defRPr/>
            </a:pPr>
            <a:r>
              <a:rPr lang="pt-PT" sz="1100" dirty="0">
                <a:latin typeface="Arial" pitchFamily="34" charset="0"/>
                <a:cs typeface="Arial" pitchFamily="34" charset="0"/>
              </a:rPr>
              <a:t>&lt;</a:t>
            </a:r>
            <a:r>
              <a:rPr lang="pt-PT" sz="1100" b="1" dirty="0" err="1" smtClean="0">
                <a:solidFill>
                  <a:srgbClr val="009AA6"/>
                </a:solidFill>
                <a:latin typeface="Arial" pitchFamily="34" charset="0"/>
                <a:cs typeface="Arial" pitchFamily="34" charset="0"/>
              </a:rPr>
              <a:t>CaracteristicaEspecificacaoProduto</a:t>
            </a:r>
            <a:r>
              <a:rPr lang="pt-PT" sz="1100" dirty="0">
                <a:latin typeface="Arial" pitchFamily="34" charset="0"/>
                <a:cs typeface="Arial" pitchFamily="34" charset="0"/>
              </a:rPr>
              <a:t>&gt;</a:t>
            </a:r>
          </a:p>
          <a:p>
            <a:pPr lvl="1" eaLnBrk="1" hangingPunct="1">
              <a:defRPr/>
            </a:pPr>
            <a:r>
              <a:rPr lang="pt-PT" sz="1100" dirty="0">
                <a:latin typeface="Arial" pitchFamily="34" charset="0"/>
                <a:cs typeface="Arial" pitchFamily="34" charset="0"/>
              </a:rPr>
              <a:t>	&lt;nome&gt; Cor &lt;/nome&gt;</a:t>
            </a:r>
          </a:p>
          <a:p>
            <a:pPr lvl="1" eaLnBrk="1" hangingPunct="1">
              <a:defRPr/>
            </a:pPr>
            <a:r>
              <a:rPr lang="pt-PT" sz="1100" dirty="0">
                <a:latin typeface="Arial" pitchFamily="34" charset="0"/>
                <a:cs typeface="Arial" pitchFamily="34" charset="0"/>
              </a:rPr>
              <a:t>	&lt;valor&gt; </a:t>
            </a:r>
            <a:r>
              <a:rPr lang="pt-PT" sz="1100" dirty="0" smtClean="0">
                <a:latin typeface="Arial" pitchFamily="34" charset="0"/>
                <a:cs typeface="Arial" pitchFamily="34" charset="0"/>
              </a:rPr>
              <a:t>Preto &lt;/</a:t>
            </a:r>
            <a:r>
              <a:rPr lang="pt-PT" sz="1100" dirty="0">
                <a:latin typeface="Arial" pitchFamily="34" charset="0"/>
                <a:cs typeface="Arial" pitchFamily="34" charset="0"/>
              </a:rPr>
              <a:t>valor&gt;</a:t>
            </a:r>
          </a:p>
          <a:p>
            <a:pPr lvl="1" eaLnBrk="1" hangingPunct="1">
              <a:defRPr/>
            </a:pPr>
            <a:r>
              <a:rPr lang="pt-PT" sz="1100" dirty="0">
                <a:latin typeface="Arial" pitchFamily="34" charset="0"/>
                <a:cs typeface="Arial" pitchFamily="34" charset="0"/>
              </a:rPr>
              <a:t>	&lt;nome&gt; </a:t>
            </a:r>
            <a:r>
              <a:rPr lang="pt-PT" sz="1100" dirty="0" err="1">
                <a:latin typeface="Arial" pitchFamily="34" charset="0"/>
                <a:cs typeface="Arial" pitchFamily="34" charset="0"/>
              </a:rPr>
              <a:t>Marca&lt;</a:t>
            </a:r>
            <a:r>
              <a:rPr lang="pt-PT" sz="1100" dirty="0">
                <a:latin typeface="Arial" pitchFamily="34" charset="0"/>
                <a:cs typeface="Arial" pitchFamily="34" charset="0"/>
              </a:rPr>
              <a:t>/nome&gt;</a:t>
            </a:r>
          </a:p>
          <a:p>
            <a:pPr lvl="1" eaLnBrk="1" hangingPunct="1">
              <a:defRPr/>
            </a:pPr>
            <a:r>
              <a:rPr lang="pt-PT" sz="1100" dirty="0">
                <a:latin typeface="Arial" pitchFamily="34" charset="0"/>
                <a:cs typeface="Arial" pitchFamily="34" charset="0"/>
              </a:rPr>
              <a:t>	&lt;valor&gt; </a:t>
            </a:r>
            <a:r>
              <a:rPr lang="pt-PT" sz="1100" dirty="0" err="1">
                <a:latin typeface="Arial" pitchFamily="34" charset="0"/>
                <a:cs typeface="Arial" pitchFamily="34" charset="0"/>
              </a:rPr>
              <a:t>Nokia</a:t>
            </a:r>
            <a:r>
              <a:rPr lang="pt-PT" sz="1100" dirty="0">
                <a:latin typeface="Arial" pitchFamily="34" charset="0"/>
                <a:cs typeface="Arial" pitchFamily="34" charset="0"/>
              </a:rPr>
              <a:t> &lt;/valor&gt;</a:t>
            </a:r>
          </a:p>
          <a:p>
            <a:pPr lvl="1">
              <a:defRPr/>
            </a:pPr>
            <a:r>
              <a:rPr lang="pt-PT" sz="1100" dirty="0" smtClean="0">
                <a:latin typeface="Arial" pitchFamily="34" charset="0"/>
                <a:cs typeface="Arial" pitchFamily="34" charset="0"/>
              </a:rPr>
              <a:t>&lt;/</a:t>
            </a:r>
            <a:r>
              <a:rPr lang="pt-PT" sz="11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PT" sz="1100" b="1" dirty="0" err="1" smtClean="0">
                <a:solidFill>
                  <a:srgbClr val="009AA6"/>
                </a:solidFill>
                <a:latin typeface="Arial" pitchFamily="34" charset="0"/>
                <a:cs typeface="Arial" pitchFamily="34" charset="0"/>
              </a:rPr>
              <a:t>CaracteristicaEspecificacaoProduto</a:t>
            </a:r>
            <a:r>
              <a:rPr lang="pt-PT" sz="1100" dirty="0" smtClean="0">
                <a:latin typeface="Arial" pitchFamily="34" charset="0"/>
                <a:cs typeface="Arial" pitchFamily="34" charset="0"/>
              </a:rPr>
              <a:t>&gt;</a:t>
            </a:r>
            <a:endParaRPr lang="pt-PT" sz="1100" dirty="0">
              <a:latin typeface="Arial" pitchFamily="34" charset="0"/>
              <a:cs typeface="Arial" pitchFamily="34" charset="0"/>
            </a:endParaRPr>
          </a:p>
          <a:p>
            <a:pPr marL="0" lvl="1" eaLnBrk="1" hangingPunct="1">
              <a:defRPr/>
            </a:pPr>
            <a:r>
              <a:rPr lang="pt-PT" sz="1100" b="1" dirty="0">
                <a:latin typeface="Arial" pitchFamily="34" charset="0"/>
                <a:cs typeface="Arial" pitchFamily="34" charset="0"/>
              </a:rPr>
              <a:t>&lt;/ Produto&gt;</a:t>
            </a:r>
            <a:endParaRPr lang="pt-PT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41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246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Princípios &amp; Melhores Práticas</a:t>
            </a:r>
          </a:p>
          <a:p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Construção </a:t>
            </a:r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de serviços de integração – atributos transacionais</a:t>
            </a:r>
            <a:endParaRPr lang="pt-BR" i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68312" y="1334254"/>
            <a:ext cx="8109496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1400" b="1" dirty="0">
                <a:latin typeface="Arial" panose="020B0604020202020204" pitchFamily="34" charset="0"/>
                <a:cs typeface="Arial" panose="020B0604020202020204" pitchFamily="34" charset="0"/>
              </a:rPr>
              <a:t>O desenho e especificação de serviços de integração devem ter como base a versão mais recente da entidade publicada no modelo </a:t>
            </a:r>
            <a:r>
              <a:rPr lang="pt-PT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anônico.</a:t>
            </a:r>
          </a:p>
          <a:p>
            <a:endParaRPr lang="pt-PT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/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Neste âmbito existem atributos com carácter transacional, cujo valor só é relevante no momento em que é realizada a </a:t>
            </a:r>
            <a:r>
              <a:rPr lang="pt-PT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operação, e que não se 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pretende </a:t>
            </a:r>
            <a:r>
              <a:rPr lang="pt-PT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que seja “guardado” como 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uma característica “estável” de determinada entidade relevante para a organização. </a:t>
            </a:r>
            <a:r>
              <a:rPr lang="pt-PT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Resultam normalmente 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de cálculos com carácter </a:t>
            </a:r>
            <a:r>
              <a:rPr lang="pt-PT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inâmico e 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podem dizer respeito ao serviço como um todo ou apenas a uma entidade.</a:t>
            </a:r>
          </a:p>
          <a:p>
            <a:pPr marL="0" lvl="1"/>
            <a:endParaRPr lang="pt-PT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/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Este tipo de atributos </a:t>
            </a:r>
            <a:r>
              <a:rPr lang="pt-PT" sz="1400" b="1" dirty="0">
                <a:latin typeface="Arial" panose="020B0604020202020204" pitchFamily="34" charset="0"/>
                <a:cs typeface="Arial" panose="020B0604020202020204" pitchFamily="34" charset="0"/>
              </a:rPr>
              <a:t>não é introduzido no Modelo C</a:t>
            </a:r>
            <a:r>
              <a:rPr lang="pt-PT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nônico 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sendo da responsabilidade da equipa de integração a sua </a:t>
            </a:r>
            <a:r>
              <a:rPr lang="pt-PT" sz="1400" dirty="0" err="1">
                <a:latin typeface="Arial" panose="020B0604020202020204" pitchFamily="34" charset="0"/>
                <a:cs typeface="Arial" panose="020B0604020202020204" pitchFamily="34" charset="0"/>
              </a:rPr>
              <a:t>correcta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 introdução nos serviços de </a:t>
            </a:r>
            <a:r>
              <a:rPr lang="pt-PT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ntegração como ilustrado  na página seguinte. </a:t>
            </a:r>
            <a:endParaRPr lang="pt-PT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42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0749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2547" y="309786"/>
            <a:ext cx="71637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Princípios &amp; Melhores Práticas</a:t>
            </a:r>
          </a:p>
          <a:p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Parâmetros </a:t>
            </a:r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da operação e extensão de entidades canônicas</a:t>
            </a:r>
            <a:endParaRPr lang="pt-BR" i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1312763"/>
              </p:ext>
            </p:extLst>
          </p:nvPr>
        </p:nvGraphicFramePr>
        <p:xfrm>
          <a:off x="2303748" y="2628890"/>
          <a:ext cx="1618212" cy="6629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618212"/>
              </a:tblGrid>
              <a:tr h="174128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âmetro Operação</a:t>
                      </a:r>
                      <a:endParaRPr lang="pt-PT" sz="105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pt-PT" sz="105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peração</a:t>
                      </a:r>
                      <a:endParaRPr lang="pt-PT" sz="105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pt-PT" sz="105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1328589"/>
              </p:ext>
            </p:extLst>
          </p:nvPr>
        </p:nvGraphicFramePr>
        <p:xfrm>
          <a:off x="4762233" y="3094547"/>
          <a:ext cx="936000" cy="6629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36000"/>
              </a:tblGrid>
              <a:tr h="202207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rso</a:t>
                      </a:r>
                      <a:endParaRPr lang="pt-PT" sz="105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66771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</a:t>
                      </a:r>
                    </a:p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pt-PT" sz="105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0553392"/>
              </p:ext>
            </p:extLst>
          </p:nvPr>
        </p:nvGraphicFramePr>
        <p:xfrm>
          <a:off x="4873941" y="3392910"/>
          <a:ext cx="936000" cy="6629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36000"/>
              </a:tblGrid>
              <a:tr h="200112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la</a:t>
                      </a:r>
                      <a:endParaRPr lang="pt-PT" sz="105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54320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º</a:t>
                      </a:r>
                    </a:p>
                    <a:p>
                      <a:r>
                        <a:rPr lang="pt-PT" sz="105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</a:t>
                      </a: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773539"/>
              </p:ext>
            </p:extLst>
          </p:nvPr>
        </p:nvGraphicFramePr>
        <p:xfrm>
          <a:off x="4978153" y="3691274"/>
          <a:ext cx="936000" cy="9829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36000"/>
              </a:tblGrid>
              <a:tr h="177591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uno</a:t>
                      </a:r>
                      <a:endParaRPr lang="pt-PT" sz="105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646211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</a:t>
                      </a:r>
                    </a:p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ênero</a:t>
                      </a:r>
                    </a:p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entificação</a:t>
                      </a:r>
                      <a:endParaRPr lang="pt-PT" sz="1050" kern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pt-PT" sz="105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1259492"/>
              </p:ext>
            </p:extLst>
          </p:nvPr>
        </p:nvGraphicFramePr>
        <p:xfrm>
          <a:off x="6588424" y="2983244"/>
          <a:ext cx="1800000" cy="986839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800000"/>
              </a:tblGrid>
              <a:tr h="255319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uno </a:t>
                      </a:r>
                      <a:r>
                        <a:rPr lang="pt-PT" sz="105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estendida)</a:t>
                      </a:r>
                      <a:endParaRPr lang="pt-PT" sz="105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</a:t>
                      </a:r>
                    </a:p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ênero</a:t>
                      </a:r>
                    </a:p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  <a:p>
                      <a:r>
                        <a:rPr lang="pt-PT" sz="105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extensão)</a:t>
                      </a:r>
                      <a:r>
                        <a:rPr lang="pt-PT" sz="1050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º de Registos</a:t>
                      </a:r>
                      <a:endParaRPr lang="pt-PT" sz="1050" dirty="0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0" name="Freeform 19"/>
          <p:cNvSpPr/>
          <p:nvPr/>
        </p:nvSpPr>
        <p:spPr>
          <a:xfrm>
            <a:off x="5914153" y="3130162"/>
            <a:ext cx="638267" cy="1052602"/>
          </a:xfrm>
          <a:custGeom>
            <a:avLst/>
            <a:gdLst>
              <a:gd name="connsiteX0" fmla="*/ 0 w 2037145"/>
              <a:gd name="connsiteY0" fmla="*/ 254643 h 447555"/>
              <a:gd name="connsiteX1" fmla="*/ 937550 w 2037145"/>
              <a:gd name="connsiteY1" fmla="*/ 405114 h 447555"/>
              <a:gd name="connsiteX2" fmla="*/ 2037145 w 2037145"/>
              <a:gd name="connsiteY2" fmla="*/ 0 h 447555"/>
              <a:gd name="connsiteX3" fmla="*/ 2037145 w 2037145"/>
              <a:gd name="connsiteY3" fmla="*/ 0 h 447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37145" h="447555">
                <a:moveTo>
                  <a:pt x="0" y="254643"/>
                </a:moveTo>
                <a:cubicBezTo>
                  <a:pt x="299013" y="351099"/>
                  <a:pt x="598026" y="447555"/>
                  <a:pt x="937550" y="405114"/>
                </a:cubicBezTo>
                <a:cubicBezTo>
                  <a:pt x="1277074" y="362674"/>
                  <a:pt x="2037145" y="0"/>
                  <a:pt x="2037145" y="0"/>
                </a:cubicBezTo>
                <a:lnTo>
                  <a:pt x="2037145" y="0"/>
                </a:lnTo>
              </a:path>
            </a:pathLst>
          </a:cu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P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reeform 20"/>
          <p:cNvSpPr/>
          <p:nvPr/>
        </p:nvSpPr>
        <p:spPr>
          <a:xfrm>
            <a:off x="5773937" y="3246660"/>
            <a:ext cx="742479" cy="1072023"/>
          </a:xfrm>
          <a:custGeom>
            <a:avLst/>
            <a:gdLst>
              <a:gd name="connsiteX0" fmla="*/ 0 w 2176041"/>
              <a:gd name="connsiteY0" fmla="*/ 0 h 1307940"/>
              <a:gd name="connsiteX1" fmla="*/ 1041722 w 2176041"/>
              <a:gd name="connsiteY1" fmla="*/ 243069 h 1307940"/>
              <a:gd name="connsiteX2" fmla="*/ 2176041 w 2176041"/>
              <a:gd name="connsiteY2" fmla="*/ 1307940 h 1307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76041" h="1307940">
                <a:moveTo>
                  <a:pt x="0" y="0"/>
                </a:moveTo>
                <a:cubicBezTo>
                  <a:pt x="339524" y="12539"/>
                  <a:pt x="679049" y="25079"/>
                  <a:pt x="1041722" y="243069"/>
                </a:cubicBezTo>
                <a:cubicBezTo>
                  <a:pt x="1404395" y="461059"/>
                  <a:pt x="1790218" y="884499"/>
                  <a:pt x="2176041" y="1307940"/>
                </a:cubicBezTo>
              </a:path>
            </a:pathLst>
          </a:cu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P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0" name="Table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6671643"/>
              </p:ext>
            </p:extLst>
          </p:nvPr>
        </p:nvGraphicFramePr>
        <p:xfrm>
          <a:off x="6588424" y="4141058"/>
          <a:ext cx="936000" cy="6629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36000"/>
              </a:tblGrid>
              <a:tr h="202207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rso</a:t>
                      </a:r>
                      <a:endParaRPr lang="pt-PT" sz="105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66771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</a:t>
                      </a:r>
                    </a:p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pt-PT" sz="105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3" name="Table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8438619"/>
              </p:ext>
            </p:extLst>
          </p:nvPr>
        </p:nvGraphicFramePr>
        <p:xfrm>
          <a:off x="539760" y="3297040"/>
          <a:ext cx="936000" cy="6629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36000"/>
              </a:tblGrid>
              <a:tr h="202207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rso</a:t>
                      </a:r>
                      <a:endParaRPr lang="pt-PT" sz="105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66771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</a:t>
                      </a:r>
                    </a:p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pt-PT" sz="105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4" name="Table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3791730"/>
              </p:ext>
            </p:extLst>
          </p:nvPr>
        </p:nvGraphicFramePr>
        <p:xfrm>
          <a:off x="651468" y="3595403"/>
          <a:ext cx="936000" cy="6629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36000"/>
              </a:tblGrid>
              <a:tr h="200112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la</a:t>
                      </a:r>
                      <a:endParaRPr lang="pt-PT" sz="105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54320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º</a:t>
                      </a:r>
                    </a:p>
                    <a:p>
                      <a:r>
                        <a:rPr lang="pt-PT" sz="105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</a:t>
                      </a: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5" name="Table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4261617"/>
              </p:ext>
            </p:extLst>
          </p:nvPr>
        </p:nvGraphicFramePr>
        <p:xfrm>
          <a:off x="755680" y="3893767"/>
          <a:ext cx="936000" cy="9829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36000"/>
              </a:tblGrid>
              <a:tr h="177591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uno</a:t>
                      </a:r>
                      <a:endParaRPr lang="pt-PT" sz="105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646211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</a:t>
                      </a:r>
                    </a:p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ênero</a:t>
                      </a:r>
                    </a:p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entificação</a:t>
                      </a:r>
                      <a:endParaRPr lang="pt-PT" sz="1050" kern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pt-PT" sz="105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6" name="Table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363143"/>
              </p:ext>
            </p:extLst>
          </p:nvPr>
        </p:nvGraphicFramePr>
        <p:xfrm>
          <a:off x="2303948" y="3339039"/>
          <a:ext cx="1800000" cy="826819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800000"/>
              </a:tblGrid>
              <a:tr h="255319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uno</a:t>
                      </a:r>
                      <a:endParaRPr lang="pt-PT" sz="105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</a:t>
                      </a:r>
                    </a:p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ênero</a:t>
                      </a:r>
                    </a:p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7" name="Freeform 36"/>
          <p:cNvSpPr/>
          <p:nvPr/>
        </p:nvSpPr>
        <p:spPr>
          <a:xfrm>
            <a:off x="1691679" y="3449153"/>
            <a:ext cx="540261" cy="936104"/>
          </a:xfrm>
          <a:custGeom>
            <a:avLst/>
            <a:gdLst>
              <a:gd name="connsiteX0" fmla="*/ 0 w 2037145"/>
              <a:gd name="connsiteY0" fmla="*/ 254643 h 447555"/>
              <a:gd name="connsiteX1" fmla="*/ 937550 w 2037145"/>
              <a:gd name="connsiteY1" fmla="*/ 405114 h 447555"/>
              <a:gd name="connsiteX2" fmla="*/ 2037145 w 2037145"/>
              <a:gd name="connsiteY2" fmla="*/ 0 h 447555"/>
              <a:gd name="connsiteX3" fmla="*/ 2037145 w 2037145"/>
              <a:gd name="connsiteY3" fmla="*/ 0 h 447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37145" h="447555">
                <a:moveTo>
                  <a:pt x="0" y="254643"/>
                </a:moveTo>
                <a:cubicBezTo>
                  <a:pt x="299013" y="351099"/>
                  <a:pt x="598026" y="447555"/>
                  <a:pt x="937550" y="405114"/>
                </a:cubicBezTo>
                <a:cubicBezTo>
                  <a:pt x="1277074" y="362674"/>
                  <a:pt x="2037145" y="0"/>
                  <a:pt x="2037145" y="0"/>
                </a:cubicBezTo>
                <a:lnTo>
                  <a:pt x="2037145" y="0"/>
                </a:lnTo>
              </a:path>
            </a:pathLst>
          </a:cu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P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Freeform 37"/>
          <p:cNvSpPr/>
          <p:nvPr/>
        </p:nvSpPr>
        <p:spPr>
          <a:xfrm>
            <a:off x="1475761" y="3449153"/>
            <a:ext cx="756180" cy="1072023"/>
          </a:xfrm>
          <a:custGeom>
            <a:avLst/>
            <a:gdLst>
              <a:gd name="connsiteX0" fmla="*/ 0 w 2176041"/>
              <a:gd name="connsiteY0" fmla="*/ 0 h 1307940"/>
              <a:gd name="connsiteX1" fmla="*/ 1041722 w 2176041"/>
              <a:gd name="connsiteY1" fmla="*/ 243069 h 1307940"/>
              <a:gd name="connsiteX2" fmla="*/ 2176041 w 2176041"/>
              <a:gd name="connsiteY2" fmla="*/ 1307940 h 1307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76041" h="1307940">
                <a:moveTo>
                  <a:pt x="0" y="0"/>
                </a:moveTo>
                <a:cubicBezTo>
                  <a:pt x="339524" y="12539"/>
                  <a:pt x="679049" y="25079"/>
                  <a:pt x="1041722" y="243069"/>
                </a:cubicBezTo>
                <a:cubicBezTo>
                  <a:pt x="1404395" y="461059"/>
                  <a:pt x="1790218" y="884499"/>
                  <a:pt x="2176041" y="1307940"/>
                </a:cubicBezTo>
              </a:path>
            </a:pathLst>
          </a:cu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P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9" name="Table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1252697"/>
              </p:ext>
            </p:extLst>
          </p:nvPr>
        </p:nvGraphicFramePr>
        <p:xfrm>
          <a:off x="2303948" y="4213066"/>
          <a:ext cx="936000" cy="6629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36000"/>
              </a:tblGrid>
              <a:tr h="202207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rso</a:t>
                      </a:r>
                      <a:endParaRPr lang="pt-PT" sz="105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66771">
                <a:tc>
                  <a:txBody>
                    <a:bodyPr/>
                    <a:lstStyle/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</a:t>
                      </a:r>
                    </a:p>
                    <a:p>
                      <a:r>
                        <a:rPr lang="pt-PT" sz="10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pt-PT" sz="105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1" name="Rectangle 40"/>
          <p:cNvSpPr/>
          <p:nvPr/>
        </p:nvSpPr>
        <p:spPr>
          <a:xfrm>
            <a:off x="467544" y="1635646"/>
            <a:ext cx="388843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pt-PT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Os parâmetros técnicos que dizem respeito ao </a:t>
            </a:r>
            <a:r>
              <a:rPr lang="pt-PT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erviço como um todo</a:t>
            </a:r>
            <a:r>
              <a:rPr lang="pt-PT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como sendo a data 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da </a:t>
            </a:r>
            <a:r>
              <a:rPr lang="pt-PT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operação, que deverão 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ser </a:t>
            </a:r>
            <a:r>
              <a:rPr lang="pt-PT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dentificados como ilustrado abaixo.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68312" y="1347614"/>
            <a:ext cx="77041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Pelo seu carácter transacional, </a:t>
            </a:r>
            <a:r>
              <a:rPr lang="pt-PT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os seguintes atributos não 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são modelados em </a:t>
            </a:r>
            <a:r>
              <a:rPr lang="pt-PT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canônico:</a:t>
            </a:r>
            <a:endParaRPr lang="pt-PT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716016" y="1635646"/>
            <a:ext cx="388843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pt-PT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Os parâmetros técnicos que dizem respeito a uma </a:t>
            </a:r>
            <a:r>
              <a:rPr lang="pt-PT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ntidade específica, </a:t>
            </a:r>
            <a:r>
              <a:rPr lang="pt-PT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que </a:t>
            </a:r>
            <a:r>
              <a:rPr lang="pt-PT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evem ser devidamente identificados nos 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serviços de </a:t>
            </a:r>
            <a:r>
              <a:rPr lang="pt-PT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ntegração como 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ilustrado </a:t>
            </a:r>
            <a:r>
              <a:rPr lang="pt-PT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baixo, recorrendo-se a uma extensão 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da </a:t>
            </a:r>
            <a:r>
              <a:rPr lang="pt-PT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ntidade.</a:t>
            </a:r>
            <a:endParaRPr lang="pt-PT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/>
            <a:endParaRPr lang="pt-PT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43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9131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Conteúdo 3"/>
          <p:cNvSpPr txBox="1">
            <a:spLocks/>
          </p:cNvSpPr>
          <p:nvPr/>
        </p:nvSpPr>
        <p:spPr>
          <a:xfrm>
            <a:off x="467544" y="1347614"/>
            <a:ext cx="81102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dirty="0" smtClean="0">
                <a:solidFill>
                  <a:prstClr val="black"/>
                </a:solidFill>
              </a:rPr>
              <a:t>A política </a:t>
            </a:r>
            <a:r>
              <a:rPr dirty="0">
                <a:solidFill>
                  <a:prstClr val="black"/>
                </a:solidFill>
              </a:rPr>
              <a:t>de </a:t>
            </a:r>
            <a:r>
              <a:rPr b="1" dirty="0">
                <a:solidFill>
                  <a:prstClr val="black"/>
                </a:solidFill>
              </a:rPr>
              <a:t>versionamento </a:t>
            </a:r>
            <a:r>
              <a:rPr b="1" dirty="0" smtClean="0">
                <a:solidFill>
                  <a:prstClr val="black"/>
                </a:solidFill>
              </a:rPr>
              <a:t>dos documentos </a:t>
            </a:r>
            <a:r>
              <a:rPr dirty="0" smtClean="0">
                <a:solidFill>
                  <a:prstClr val="black"/>
                </a:solidFill>
              </a:rPr>
              <a:t>é extremamente importante </a:t>
            </a:r>
            <a:r>
              <a:rPr dirty="0">
                <a:solidFill>
                  <a:prstClr val="black"/>
                </a:solidFill>
              </a:rPr>
              <a:t>numa Arquitetura de </a:t>
            </a:r>
            <a:r>
              <a:rPr dirty="0" smtClean="0">
                <a:solidFill>
                  <a:prstClr val="black"/>
                </a:solidFill>
              </a:rPr>
              <a:t>Dados corporativo. </a:t>
            </a:r>
            <a:r>
              <a:rPr dirty="0">
                <a:solidFill>
                  <a:prstClr val="black"/>
                </a:solidFill>
              </a:rPr>
              <a:t>É através </a:t>
            </a:r>
            <a:r>
              <a:rPr dirty="0" smtClean="0">
                <a:solidFill>
                  <a:prstClr val="black"/>
                </a:solidFill>
              </a:rPr>
              <a:t>dela </a:t>
            </a:r>
            <a:r>
              <a:rPr dirty="0">
                <a:solidFill>
                  <a:prstClr val="black"/>
                </a:solidFill>
              </a:rPr>
              <a:t>que se garante que os </a:t>
            </a:r>
            <a:r>
              <a:rPr b="1" dirty="0">
                <a:solidFill>
                  <a:prstClr val="black"/>
                </a:solidFill>
              </a:rPr>
              <a:t>impactos de mudanças </a:t>
            </a:r>
            <a:r>
              <a:rPr dirty="0">
                <a:solidFill>
                  <a:prstClr val="black"/>
                </a:solidFill>
              </a:rPr>
              <a:t>estão claros e transparentes para todos os </a:t>
            </a:r>
            <a:r>
              <a:rPr dirty="0" smtClean="0">
                <a:solidFill>
                  <a:prstClr val="black"/>
                </a:solidFill>
              </a:rPr>
              <a:t>"</a:t>
            </a:r>
            <a:r>
              <a:rPr i="1" dirty="0" err="1" smtClean="0">
                <a:solidFill>
                  <a:prstClr val="black"/>
                </a:solidFill>
              </a:rPr>
              <a:t>master</a:t>
            </a:r>
            <a:r>
              <a:rPr dirty="0" smtClean="0">
                <a:solidFill>
                  <a:prstClr val="black"/>
                </a:solidFill>
              </a:rPr>
              <a:t>" e "</a:t>
            </a:r>
            <a:r>
              <a:rPr i="1" dirty="0" err="1" smtClean="0">
                <a:solidFill>
                  <a:prstClr val="black"/>
                </a:solidFill>
              </a:rPr>
              <a:t>slaves</a:t>
            </a:r>
            <a:r>
              <a:rPr dirty="0" smtClean="0">
                <a:solidFill>
                  <a:prstClr val="black"/>
                </a:solidFill>
              </a:rPr>
              <a:t>" da informação corporativa. </a:t>
            </a:r>
            <a:r>
              <a:rPr lang="pt-BR" dirty="0"/>
              <a:t>Propomos </a:t>
            </a:r>
            <a:r>
              <a:rPr lang="pt-BR" dirty="0" smtClean="0"/>
              <a:t>assim a seguinte </a:t>
            </a:r>
            <a:r>
              <a:rPr lang="pt-BR" dirty="0"/>
              <a:t>nomenclatura </a:t>
            </a:r>
            <a:r>
              <a:rPr lang="pt-BR" dirty="0" smtClean="0"/>
              <a:t>para o </a:t>
            </a:r>
            <a:r>
              <a:rPr lang="pt-BR" dirty="0"/>
              <a:t>versionamento dos </a:t>
            </a:r>
            <a:r>
              <a:rPr lang="pt-BR" dirty="0" smtClean="0"/>
              <a:t>documentos:</a:t>
            </a:r>
          </a:p>
        </p:txBody>
      </p:sp>
      <p:graphicFrame>
        <p:nvGraphicFramePr>
          <p:cNvPr id="7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4228087"/>
              </p:ext>
            </p:extLst>
          </p:nvPr>
        </p:nvGraphicFramePr>
        <p:xfrm>
          <a:off x="539552" y="2571750"/>
          <a:ext cx="8038256" cy="20787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6864"/>
                <a:gridCol w="1105500"/>
                <a:gridCol w="5825892"/>
              </a:tblGrid>
              <a:tr h="144016"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po</a:t>
                      </a:r>
                      <a:endParaRPr lang="pt-BR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 (e.g.)</a:t>
                      </a:r>
                      <a:endParaRPr lang="pt-BR" sz="14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ção</a:t>
                      </a:r>
                      <a:endParaRPr lang="pt-BR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43272">
                <a:tc>
                  <a:txBody>
                    <a:bodyPr/>
                    <a:lstStyle/>
                    <a:p>
                      <a:r>
                        <a:rPr lang="pt-BR" sz="1200" b="1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jor</a:t>
                      </a:r>
                      <a:endParaRPr lang="pt-BR" sz="1200" b="1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0.0 (1.0.0)</a:t>
                      </a:r>
                      <a:endParaRPr lang="pt-B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á incremental em função da aprovação de novas versões do documento;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presenta uma grande mudança, com adição de novas funcionalidades;</a:t>
                      </a:r>
                    </a:p>
                  </a:txBody>
                  <a:tcPr/>
                </a:tc>
              </a:tr>
              <a:tr h="127496">
                <a:tc>
                  <a:txBody>
                    <a:bodyPr/>
                    <a:lstStyle/>
                    <a:p>
                      <a:r>
                        <a:rPr lang="pt-BR" sz="1200" b="1" i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or</a:t>
                      </a:r>
                      <a:endParaRPr lang="pt-BR" sz="1200" b="1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</a:t>
                      </a:r>
                      <a:r>
                        <a:rPr lang="pt-BR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0 (1.1.0)</a:t>
                      </a:r>
                      <a:endParaRPr lang="pt-B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á incremental em função da disponibilização de novas versões do documento;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ica um número menor de funcionalidades alteradas na versão;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b="1" i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vision</a:t>
                      </a:r>
                      <a:endParaRPr lang="pt-BR" sz="1200" b="1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.</a:t>
                      </a:r>
                      <a:r>
                        <a:rPr lang="pt-BR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1.1.1)</a:t>
                      </a:r>
                      <a:endParaRPr lang="pt-B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lvl="1" indent="-171450" algn="l" defTabSz="914400" rtl="0" eaLnBrk="1" latinLnBrk="0" hangingPunct="1">
                        <a:spcBef>
                          <a:spcPct val="20000"/>
                        </a:spcBef>
                        <a:buFont typeface="Arial" pitchFamily="34" charset="0"/>
                        <a:buChar char="•"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á incremental em função de alterações e revisões de uma mesma versão do documento antes de sua disponibilização;</a:t>
                      </a:r>
                    </a:p>
                    <a:p>
                      <a:pPr marL="171450" lvl="1" indent="-171450" algn="l" defTabSz="914400" rtl="0" eaLnBrk="1" latinLnBrk="0" hangingPunct="1">
                        <a:spcBef>
                          <a:spcPct val="20000"/>
                        </a:spcBef>
                        <a:buFont typeface="Arial" pitchFamily="34" charset="0"/>
                        <a:buChar char="•"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nhuma mudança quanto as funcionalidades, apenas revisão ou reescritas;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Princípios &amp; Melhores Práticas</a:t>
            </a:r>
          </a:p>
          <a:p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Princípios </a:t>
            </a:r>
            <a:r>
              <a:rPr lang="pt-BR" i="1" dirty="0" smtClean="0">
                <a:solidFill>
                  <a:srgbClr val="009AA6"/>
                </a:solidFill>
                <a:latin typeface="Arial"/>
                <a:cs typeface="Arial"/>
              </a:rPr>
              <a:t>de versionamento</a:t>
            </a:r>
            <a:endParaRPr lang="pt-BR" i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9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44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6301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2547" y="309786"/>
            <a:ext cx="67663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rgbClr val="009AA6"/>
                </a:solidFill>
                <a:latin typeface="Arial"/>
                <a:cs typeface="Arial"/>
              </a:rPr>
              <a:t>Princípios &amp; Melhores Práticas</a:t>
            </a:r>
          </a:p>
          <a:p>
            <a:r>
              <a:rPr lang="pt-BR" i="1" dirty="0" smtClean="0">
                <a:solidFill>
                  <a:srgbClr val="009A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menclatura </a:t>
            </a:r>
            <a:r>
              <a:rPr lang="pt-BR" i="1" dirty="0" smtClean="0">
                <a:solidFill>
                  <a:srgbClr val="009A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Documentos</a:t>
            </a:r>
            <a:endParaRPr lang="pt-BR" i="1" dirty="0">
              <a:solidFill>
                <a:srgbClr val="009A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7544" y="1368567"/>
            <a:ext cx="8110264" cy="32378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41338">
              <a:lnSpc>
                <a:spcPct val="110000"/>
              </a:lnSpc>
              <a:spcBef>
                <a:spcPct val="2500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None/>
            </a:pPr>
            <a:r>
              <a:rPr lang="pt-B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ara a referência dos documentos, </a:t>
            </a:r>
            <a:r>
              <a:rPr lang="pt-B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erá usada a </a:t>
            </a:r>
            <a:r>
              <a:rPr lang="pt-B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eguinte terminologia: </a:t>
            </a:r>
          </a:p>
          <a:p>
            <a:pPr defTabSz="541338">
              <a:lnSpc>
                <a:spcPct val="110000"/>
              </a:lnSpc>
              <a:spcBef>
                <a:spcPct val="2500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None/>
            </a:pPr>
            <a:endParaRPr lang="pt-BR" sz="1400" dirty="0" smtClean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541338">
              <a:lnSpc>
                <a:spcPct val="110000"/>
              </a:lnSpc>
              <a:spcBef>
                <a:spcPct val="2500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None/>
            </a:pPr>
            <a:r>
              <a:rPr lang="pt-BR" sz="14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pt-BR" sz="1400" b="1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</a:t>
            </a:r>
            <a:r>
              <a:rPr lang="pt-BR" sz="1400" b="1" dirty="0" err="1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aaammdd</a:t>
            </a:r>
            <a:r>
              <a:rPr lang="pt-BR" sz="1400" b="1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-</a:t>
            </a:r>
            <a:r>
              <a:rPr lang="pt-BR" sz="14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400" b="1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Projeto/Área&gt;_&lt;Nome Documento&gt;_(Template)_&lt;Versão&gt;</a:t>
            </a:r>
            <a:r>
              <a:rPr lang="pt-BR" sz="14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</a:t>
            </a:r>
          </a:p>
          <a:p>
            <a:pPr defTabSz="541338">
              <a:lnSpc>
                <a:spcPct val="110000"/>
              </a:lnSpc>
              <a:spcBef>
                <a:spcPct val="2500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None/>
            </a:pPr>
            <a:r>
              <a:rPr lang="pt-B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m </a:t>
            </a:r>
            <a:r>
              <a:rPr lang="pt-B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que:</a:t>
            </a:r>
          </a:p>
          <a:p>
            <a:pPr marL="452438" lvl="1" indent="-269875" defTabSz="541338">
              <a:lnSpc>
                <a:spcPct val="110000"/>
              </a:lnSpc>
              <a:spcBef>
                <a:spcPct val="25000"/>
              </a:spcBef>
              <a:spcAft>
                <a:spcPct val="20000"/>
              </a:spcAft>
              <a:buClr>
                <a:srgbClr val="003399"/>
              </a:buClr>
              <a:buFont typeface="Wingdings" pitchFamily="2" charset="2"/>
              <a:buChar char="§"/>
            </a:pPr>
            <a:r>
              <a:rPr lang="pt-B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&lt;</a:t>
            </a:r>
            <a:r>
              <a:rPr lang="pt-BR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aaammdd</a:t>
            </a:r>
            <a:r>
              <a:rPr lang="pt-B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&gt; - </a:t>
            </a:r>
            <a:r>
              <a:rPr lang="pt-B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Visa identificar a data em que foi produzida a presente versão do documento;</a:t>
            </a:r>
          </a:p>
          <a:p>
            <a:pPr marL="452438" lvl="1" indent="-269875" defTabSz="541338">
              <a:lnSpc>
                <a:spcPct val="110000"/>
              </a:lnSpc>
              <a:spcBef>
                <a:spcPct val="25000"/>
              </a:spcBef>
              <a:spcAft>
                <a:spcPct val="20000"/>
              </a:spcAft>
              <a:buClr>
                <a:srgbClr val="003399"/>
              </a:buClr>
              <a:buFont typeface="Wingdings" pitchFamily="2" charset="2"/>
              <a:buChar char="§"/>
            </a:pPr>
            <a:r>
              <a:rPr lang="pt-B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&lt;Projeto/Área&gt;</a:t>
            </a:r>
            <a:r>
              <a:rPr lang="pt-B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- Visa identificar o Projeto e/ou Área responsável pela produção do documento (Ex: CRM, PMO, EA);</a:t>
            </a:r>
          </a:p>
          <a:p>
            <a:pPr marL="452438" lvl="1" indent="-269875" defTabSz="541338">
              <a:lnSpc>
                <a:spcPct val="110000"/>
              </a:lnSpc>
              <a:spcBef>
                <a:spcPct val="25000"/>
              </a:spcBef>
              <a:spcAft>
                <a:spcPct val="20000"/>
              </a:spcAft>
              <a:buClr>
                <a:srgbClr val="003399"/>
              </a:buClr>
              <a:buFont typeface="Wingdings" pitchFamily="2" charset="2"/>
              <a:buChar char="§"/>
            </a:pPr>
            <a:r>
              <a:rPr lang="pt-B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&lt;Nome Documento&gt;</a:t>
            </a:r>
            <a:r>
              <a:rPr lang="pt-B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 Ex: Mapeamento Canônico, Especificação Funcional, Plano Testes; </a:t>
            </a:r>
          </a:p>
          <a:p>
            <a:pPr marL="452438" lvl="1" indent="-269875" defTabSz="541338">
              <a:lnSpc>
                <a:spcPct val="110000"/>
              </a:lnSpc>
              <a:spcBef>
                <a:spcPct val="25000"/>
              </a:spcBef>
              <a:spcAft>
                <a:spcPct val="20000"/>
              </a:spcAft>
              <a:buClr>
                <a:srgbClr val="003399"/>
              </a:buClr>
              <a:buFont typeface="Wingdings" pitchFamily="2" charset="2"/>
              <a:buChar char="§"/>
            </a:pPr>
            <a:r>
              <a:rPr lang="pt-B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&lt;Template&gt; </a:t>
            </a:r>
            <a:r>
              <a:rPr lang="pt-B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- Incluir somente quando aplicável; e</a:t>
            </a:r>
          </a:p>
          <a:p>
            <a:pPr marL="452438" lvl="1" indent="-269875" defTabSz="541338">
              <a:lnSpc>
                <a:spcPct val="110000"/>
              </a:lnSpc>
              <a:spcBef>
                <a:spcPct val="25000"/>
              </a:spcBef>
              <a:spcAft>
                <a:spcPct val="20000"/>
              </a:spcAft>
              <a:buClr>
                <a:srgbClr val="003399"/>
              </a:buClr>
              <a:buFont typeface="Wingdings" pitchFamily="2" charset="2"/>
              <a:buChar char="§"/>
            </a:pPr>
            <a:r>
              <a:rPr lang="pt-B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&lt;Versão&gt;</a:t>
            </a:r>
            <a:r>
              <a:rPr lang="pt-B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- Deverá seguir a nomenclatura anteriormente apresentada.</a:t>
            </a:r>
            <a:endParaRPr lang="pt-BR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45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6863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Estudo de template Oi-10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3587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121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Módulo IV – Dados para SOA</a:t>
            </a:r>
            <a:br>
              <a:rPr lang="pt-BR" dirty="0" smtClean="0"/>
            </a:br>
            <a:r>
              <a:rPr lang="pt-BR" b="0" i="1" dirty="0" smtClean="0"/>
              <a:t>Apresentações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5</a:t>
            </a:fld>
            <a:endParaRPr lang="pt-BR" dirty="0"/>
          </a:p>
        </p:txBody>
      </p:sp>
      <p:graphicFrame>
        <p:nvGraphicFramePr>
          <p:cNvPr id="10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1672362"/>
              </p:ext>
            </p:extLst>
          </p:nvPr>
        </p:nvGraphicFramePr>
        <p:xfrm>
          <a:off x="395286" y="1195624"/>
          <a:ext cx="8497888" cy="2055497"/>
        </p:xfrm>
        <a:graphic>
          <a:graphicData uri="http://schemas.openxmlformats.org/drawingml/2006/table">
            <a:tbl>
              <a:tblPr firstRow="1">
                <a:tableStyleId>{E8B1032C-EA38-4F05-BA0D-38AFFFC7BED3}</a:tableStyleId>
              </a:tblPr>
              <a:tblGrid>
                <a:gridCol w="1656434"/>
                <a:gridCol w="2736304"/>
                <a:gridCol w="1512168"/>
                <a:gridCol w="2592982"/>
              </a:tblGrid>
              <a:tr h="2055497">
                <a:tc>
                  <a:txBody>
                    <a:bodyPr/>
                    <a:lstStyle/>
                    <a:p>
                      <a:endParaRPr lang="en-GB" dirty="0" smtClean="0"/>
                    </a:p>
                    <a:p>
                      <a:endParaRPr lang="en-GB" dirty="0" smtClean="0"/>
                    </a:p>
                    <a:p>
                      <a:r>
                        <a:rPr lang="en-GB" dirty="0" smtClean="0"/>
                        <a:t> Photo</a:t>
                      </a:r>
                      <a:endParaRPr lang="en-GB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6850" lvl="1" indent="-19685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FontTx/>
                        <a:buNone/>
                        <a:defRPr/>
                      </a:pPr>
                      <a:r>
                        <a:rPr lang="en-US" sz="2000" b="1" i="1" dirty="0" smtClean="0">
                          <a:solidFill>
                            <a:srgbClr val="C00000"/>
                          </a:solidFill>
                        </a:rPr>
                        <a:t>Nome</a:t>
                      </a:r>
                    </a:p>
                    <a:p>
                      <a:pPr marL="179388" lvl="1" indent="-179388" algn="l" defTabSz="914400" rtl="0" eaLnBrk="1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defRPr/>
                      </a:pPr>
                      <a:r>
                        <a:rPr lang="en-US" sz="1400" b="1" i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sição</a:t>
                      </a:r>
                      <a:endParaRPr lang="en-US" sz="1400" b="1" i="1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9388" lvl="1" indent="-179388" algn="l" defTabSz="914400" rtl="0" eaLnBrk="1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defRPr/>
                      </a:pPr>
                      <a:r>
                        <a:rPr lang="en-US" sz="1400" b="1" i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mpo de </a:t>
                      </a:r>
                      <a:r>
                        <a:rPr lang="en-US" sz="1400" b="1" i="1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i</a:t>
                      </a:r>
                      <a:endParaRPr lang="en-US" sz="1400" b="1" i="1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9388" lvl="1" indent="-179388" algn="l" defTabSz="914400" rtl="0" eaLnBrk="1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Tx/>
                        <a:buChar char="•"/>
                        <a:defRPr/>
                      </a:pPr>
                      <a:r>
                        <a:rPr lang="en-US" sz="1400" b="0" i="1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periência</a:t>
                      </a:r>
                      <a:endParaRPr lang="en-US" sz="1400" b="0" i="1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dirty="0" smtClean="0"/>
                    </a:p>
                    <a:p>
                      <a:endParaRPr lang="en-GB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smtClean="0"/>
                        <a:t> Photo</a:t>
                      </a:r>
                    </a:p>
                    <a:p>
                      <a:endParaRPr lang="en-GB" dirty="0" smtClean="0"/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6850" marR="0" lvl="1" indent="-1968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ome</a:t>
                      </a:r>
                    </a:p>
                    <a:p>
                      <a:pPr marL="179388" marR="0" lvl="1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prstClr val="black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400" b="1" i="1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osição</a:t>
                      </a:r>
                      <a:endParaRPr kumimoji="0" lang="en-US" sz="14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9388" marR="0" lvl="1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prstClr val="black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4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mpo de </a:t>
                      </a:r>
                      <a:r>
                        <a:rPr kumimoji="0" lang="en-US" sz="1400" b="1" i="1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i</a:t>
                      </a:r>
                      <a:endParaRPr kumimoji="0" lang="en-US" sz="14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9388" marR="0" lvl="1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prstClr val="black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400" b="0" i="1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eriência</a:t>
                      </a:r>
                      <a:endParaRPr kumimoji="0" lang="en-US" sz="14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3049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Módulo </a:t>
            </a:r>
            <a:r>
              <a:rPr lang="pt-BR" dirty="0" smtClean="0"/>
              <a:t>IV </a:t>
            </a:r>
            <a:r>
              <a:rPr lang="pt-BR" dirty="0"/>
              <a:t>– </a:t>
            </a:r>
            <a:r>
              <a:rPr lang="pt-BR" dirty="0" smtClean="0"/>
              <a:t>Dados para SOA</a:t>
            </a:r>
            <a:br>
              <a:rPr lang="pt-BR" dirty="0" smtClean="0"/>
            </a:br>
            <a:r>
              <a:rPr lang="pt-BR" b="0" i="1" dirty="0" smtClean="0"/>
              <a:t>Tópicos deste Módulo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6</a:t>
            </a:fld>
            <a:endParaRPr lang="pt-BR" dirty="0"/>
          </a:p>
        </p:txBody>
      </p:sp>
      <p:sp>
        <p:nvSpPr>
          <p:cNvPr id="6" name="Espaço Reservado para Conteúdo 2"/>
          <p:cNvSpPr>
            <a:spLocks noGrp="1"/>
          </p:cNvSpPr>
          <p:nvPr>
            <p:ph idx="4294967295"/>
          </p:nvPr>
        </p:nvSpPr>
        <p:spPr>
          <a:xfrm>
            <a:off x="467544" y="1563638"/>
            <a:ext cx="8136904" cy="1138773"/>
          </a:xfrm>
          <a:prstGeom prst="rect">
            <a:avLst/>
          </a:prstGeo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dirty="0" smtClean="0"/>
              <a:t>Governança de Dados para Integr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b="0" dirty="0" smtClean="0"/>
              <a:t>Implementando o Modelo Canônic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dirty="0" smtClean="0"/>
              <a:t>Princípios &amp; Melhores Práticas</a:t>
            </a:r>
            <a:endParaRPr lang="pt-BR" sz="2000" b="0" dirty="0" smtClean="0"/>
          </a:p>
        </p:txBody>
      </p:sp>
    </p:spTree>
    <p:extLst>
      <p:ext uri="{BB962C8B-B14F-4D97-AF65-F5344CB8AC3E}">
        <p14:creationId xmlns:p14="http://schemas.microsoft.com/office/powerpoint/2010/main" val="2514580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7</a:t>
            </a:fld>
            <a:endParaRPr lang="pt-BR" dirty="0"/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625073"/>
              </p:ext>
            </p:extLst>
          </p:nvPr>
        </p:nvGraphicFramePr>
        <p:xfrm>
          <a:off x="539552" y="1347614"/>
          <a:ext cx="7848872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90754"/>
                <a:gridCol w="1373942"/>
                <a:gridCol w="1584176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Tópicos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Duração (m)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Agenda</a:t>
                      </a:r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pt-BR" sz="1800" b="0" dirty="0" smtClean="0"/>
                        <a:t>Governança de</a:t>
                      </a:r>
                      <a:r>
                        <a:rPr lang="pt-BR" sz="1800" b="0" baseline="0" dirty="0" smtClean="0"/>
                        <a:t> Dados para Integração</a:t>
                      </a:r>
                      <a:endParaRPr lang="pt-BR" sz="1800" b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30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HH:MM</a:t>
                      </a:r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pt-BR" sz="1800" b="0" dirty="0" smtClean="0"/>
                        <a:t>Implementando o Modelo Canônico</a:t>
                      </a:r>
                      <a:endParaRPr lang="pt-BR" sz="1800" b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45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HH:MM</a:t>
                      </a:r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pt-BR" sz="1800" b="0" dirty="0" smtClean="0"/>
                        <a:t>Princípios</a:t>
                      </a:r>
                      <a:r>
                        <a:rPr lang="pt-BR" sz="1800" b="0" baseline="0" dirty="0" smtClean="0"/>
                        <a:t> &amp; Melhores Práticas</a:t>
                      </a:r>
                      <a:endParaRPr lang="pt-BR" sz="1800" b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60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HH:MM</a:t>
                      </a:r>
                      <a:endParaRPr lang="pt-BR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Módulo </a:t>
            </a:r>
            <a:r>
              <a:rPr lang="pt-BR" dirty="0" smtClean="0"/>
              <a:t>IV </a:t>
            </a:r>
            <a:r>
              <a:rPr lang="pt-BR" dirty="0"/>
              <a:t>– </a:t>
            </a:r>
            <a:r>
              <a:rPr lang="pt-BR" dirty="0" smtClean="0"/>
              <a:t>Dados para SOA</a:t>
            </a:r>
            <a:br>
              <a:rPr lang="pt-BR" dirty="0" smtClean="0"/>
            </a:br>
            <a:r>
              <a:rPr lang="pt-BR" b="0" i="1" dirty="0" smtClean="0"/>
              <a:t>Agenda deste Módulo</a:t>
            </a:r>
            <a:endParaRPr lang="pt-BR" b="0" i="1" dirty="0"/>
          </a:p>
        </p:txBody>
      </p:sp>
    </p:spTree>
    <p:extLst>
      <p:ext uri="{BB962C8B-B14F-4D97-AF65-F5344CB8AC3E}">
        <p14:creationId xmlns:p14="http://schemas.microsoft.com/office/powerpoint/2010/main" val="1756533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/>
          <p:cNvSpPr>
            <a:spLocks noGrp="1"/>
          </p:cNvSpPr>
          <p:nvPr>
            <p:ph type="body" sz="quarter" idx="10"/>
          </p:nvPr>
        </p:nvSpPr>
        <p:spPr>
          <a:xfrm>
            <a:off x="824400" y="3402000"/>
            <a:ext cx="6843944" cy="954000"/>
          </a:xfrm>
        </p:spPr>
        <p:txBody>
          <a:bodyPr/>
          <a:lstStyle/>
          <a:p>
            <a:r>
              <a:rPr lang="pt-BR" dirty="0" smtClean="0"/>
              <a:t>Governança de Dados para Integraçã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93463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9</a:t>
            </a:fld>
            <a:endParaRPr lang="pt-BR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843808" y="1275606"/>
            <a:ext cx="5904656" cy="3693319"/>
          </a:xfrm>
        </p:spPr>
        <p:txBody>
          <a:bodyPr/>
          <a:lstStyle/>
          <a:p>
            <a:pPr algn="just" eaLnBrk="0" hangingPunct="0">
              <a:spcBef>
                <a:spcPts val="336"/>
              </a:spcBef>
            </a:pPr>
            <a:r>
              <a:rPr lang="pt-PT" dirty="0" smtClean="0">
                <a:latin typeface="Arial" pitchFamily="34" charset="0"/>
                <a:cs typeface="Arial" pitchFamily="34" charset="0"/>
              </a:rPr>
              <a:t>Para garantir uma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gestão mais adequada 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na identificação e desenvolvimento de serviços na Oi, consumidores e provedores de serviços irão interagir com 3 áreas (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Modelo Canônico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Dados de  Referência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, e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Integração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).</a:t>
            </a:r>
          </a:p>
          <a:p>
            <a:pPr algn="just" eaLnBrk="0" hangingPunct="0">
              <a:spcBef>
                <a:spcPts val="336"/>
              </a:spcBef>
            </a:pPr>
            <a:endParaRPr lang="pt-PT" dirty="0" smtClean="0">
              <a:latin typeface="Arial" pitchFamily="34" charset="0"/>
              <a:cs typeface="Arial" pitchFamily="34" charset="0"/>
            </a:endParaRP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r>
              <a:rPr lang="pt-BR" dirty="0" smtClean="0"/>
              <a:t>O </a:t>
            </a:r>
            <a:r>
              <a:rPr lang="pt-BR" b="1" dirty="0" smtClean="0"/>
              <a:t>Modelo Canônico </a:t>
            </a:r>
            <a:r>
              <a:rPr lang="pt-BR" dirty="0"/>
              <a:t>servirá de </a:t>
            </a:r>
            <a:r>
              <a:rPr lang="pt-BR" b="1" dirty="0"/>
              <a:t>vocabulário comum </a:t>
            </a:r>
            <a:r>
              <a:rPr lang="pt-BR" dirty="0"/>
              <a:t>entre</a:t>
            </a:r>
            <a:r>
              <a:rPr lang="pt-PT" dirty="0">
                <a:latin typeface="Myriad Pro" pitchFamily="34" charset="0"/>
              </a:rPr>
              <a:t> todos os sistemas e/ou aplicações que tenham de passar informação relevante através do </a:t>
            </a:r>
            <a:r>
              <a:rPr lang="pt-PT" dirty="0" smtClean="0">
                <a:latin typeface="Myriad Pro" pitchFamily="34" charset="0"/>
              </a:rPr>
              <a:t>Barramento. </a:t>
            </a: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r>
              <a:rPr lang="pt-PT" dirty="0" smtClean="0">
                <a:latin typeface="Myriad Pro" pitchFamily="34" charset="0"/>
              </a:rPr>
              <a:t>Alguns dos atributos das entidades de negócio que irão transitar no Barramento serão identifcados como </a:t>
            </a:r>
            <a:r>
              <a:rPr lang="pt-PT" b="1" dirty="0" smtClean="0">
                <a:latin typeface="Myriad Pro" pitchFamily="34" charset="0"/>
              </a:rPr>
              <a:t>Dados de Referência</a:t>
            </a:r>
            <a:r>
              <a:rPr lang="pt-PT" dirty="0" smtClean="0">
                <a:latin typeface="Myriad Pro" pitchFamily="34" charset="0"/>
              </a:rPr>
              <a:t>. Estes serão geridos independentemente e caberá a uma equipa dedicada a </a:t>
            </a:r>
            <a:r>
              <a:rPr lang="pt-PT" b="1" dirty="0" smtClean="0">
                <a:latin typeface="Myriad Pro" pitchFamily="34" charset="0"/>
              </a:rPr>
              <a:t>identificação e manutenção destes dados </a:t>
            </a:r>
            <a:r>
              <a:rPr lang="pt-PT" dirty="0" smtClean="0">
                <a:latin typeface="Myriad Pro" pitchFamily="34" charset="0"/>
              </a:rPr>
              <a:t>e do seu </a:t>
            </a:r>
            <a:r>
              <a:rPr lang="pt-PT" b="1" dirty="0" smtClean="0">
                <a:latin typeface="Myriad Pro" pitchFamily="34" charset="0"/>
              </a:rPr>
              <a:t>mapeamento</a:t>
            </a:r>
            <a:r>
              <a:rPr lang="pt-PT" dirty="0" smtClean="0">
                <a:latin typeface="Myriad Pro" pitchFamily="34" charset="0"/>
              </a:rPr>
              <a:t> entre os diversos sistemas e/ou aplicações.</a:t>
            </a: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r>
              <a:rPr lang="pt-BR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pt-BR" b="1" dirty="0" smtClean="0">
                <a:latin typeface="Arial" pitchFamily="34" charset="0"/>
                <a:cs typeface="Arial" pitchFamily="34" charset="0"/>
              </a:rPr>
              <a:t>Integração, 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através da nova Arquitetura de Serviços irá depois disponibilizar aos </a:t>
            </a:r>
            <a:r>
              <a:rPr lang="pt-BR" b="1" dirty="0" smtClean="0">
                <a:latin typeface="Arial" pitchFamily="34" charset="0"/>
                <a:cs typeface="Arial" pitchFamily="34" charset="0"/>
              </a:rPr>
              <a:t>consumidores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, através de </a:t>
            </a:r>
            <a:r>
              <a:rPr lang="pt-BR" b="1" dirty="0" smtClean="0">
                <a:latin typeface="Arial" pitchFamily="34" charset="0"/>
                <a:cs typeface="Arial" pitchFamily="34" charset="0"/>
              </a:rPr>
              <a:t>serviços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, funcionalidades e dados dos </a:t>
            </a:r>
            <a:r>
              <a:rPr lang="pt-BR" b="1" dirty="0" smtClean="0">
                <a:latin typeface="Arial" pitchFamily="34" charset="0"/>
                <a:cs typeface="Arial" pitchFamily="34" charset="0"/>
              </a:rPr>
              <a:t>provedores.</a:t>
            </a:r>
            <a:endParaRPr lang="pt-PT" b="1" dirty="0" smtClean="0">
              <a:latin typeface="Myriad Pro" pitchFamily="34" charset="0"/>
            </a:endParaRPr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088" y="1275606"/>
            <a:ext cx="2238704" cy="3528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Governança de Dados para Integração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Objetiv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06346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cE7JBGECEBh_NnzZiS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cE7JBGECEBh_NnzZi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cE7JBGECEBh_NnzZiS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9.75"/>
  <p:tag name="LTOP" val=" 100.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9.75"/>
  <p:tag name="LTOP" val=" 100.37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9.75"/>
  <p:tag name="LTOP" val=" 100.37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9.75"/>
  <p:tag name="LTOP" val=" 100.3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4c5MI27EKBLT0acepo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4c5MI27EKBLT0acepo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cE7JBGECEBh_NnzZiS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cE7JBGECEBh_NnzZi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cE7JBGECEBh_NnzZiS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FJ6S7bu0qloCNNXa1Z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FJ6S7bu0qloCNNXa1Z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FJ6S7bu0qloCNNXa1Zy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FJ6S7bu0qloCNNXa1Z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FJ6S7bu0qloCNNXa1Z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FJ6S7bu0qloCNNXa1Zy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HjZiLOG0OYAVHBPuIV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FJ6S7bu0qloCNNXa1Zy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FJ6S7bu0qloCNNXa1Zy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FJ6S7bu0qloCNNXa1Z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9.75"/>
  <p:tag name="LTOP" val=" 100.37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FJ6S7bu0qloCNNXa1Zy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FJ6S7bu0qloCNNXa1Zy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FJ6S7bu0qloCNNXa1Zy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HjZiLOG0OYAVHBPuIV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KXdsFaakSyOT70eO9LR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pbr4YubESla8.fdBEWb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FJ6S7bu0qloCNNXa1Z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HjZiLOG0OYAVHBPuIVV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FJ6S7bu0qloCNNXa1Zy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HjZiLOG0OYAVHBPuIV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9.75"/>
  <p:tag name="LTOP" val=" 100.3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FJ6S7bu0qloCNNXa1Zy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HjZiLOG0OYAVHBPuIVV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DEd_Cy0UO9rIWQPlx9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DEd_Cy0UO9rIWQPlx9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FoqKg8oEy8mckoDSsf6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9.75"/>
  <p:tag name="LTOP" val=" 100.3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9.75"/>
  <p:tag name="LTOP" val=" 100.3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4c5MI27EKBLT0acepo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4c5MI27EKBLT0acepo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4c5MI27EKBLT0acepoJg"/>
</p:tagLst>
</file>

<file path=ppt/theme/theme1.xml><?xml version="1.0" encoding="utf-8"?>
<a:theme xmlns:a="http://schemas.openxmlformats.org/drawingml/2006/main" name="Oi - PPTX - Template geral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03CEB27C93D1A4CA8BB4D99BD509FBF" ma:contentTypeVersion="0" ma:contentTypeDescription="Crie um novo documento." ma:contentTypeScope="" ma:versionID="17b08b277d33035102a791317151a49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A507C8E-05C3-452C-AC57-6F627EE82DD3}"/>
</file>

<file path=customXml/itemProps2.xml><?xml version="1.0" encoding="utf-8"?>
<ds:datastoreItem xmlns:ds="http://schemas.openxmlformats.org/officeDocument/2006/customXml" ds:itemID="{53592F06-C04D-4B77-A4EF-D27341670E3F}"/>
</file>

<file path=customXml/itemProps3.xml><?xml version="1.0" encoding="utf-8"?>
<ds:datastoreItem xmlns:ds="http://schemas.openxmlformats.org/officeDocument/2006/customXml" ds:itemID="{E9DE5FC6-5ABA-48C5-8F17-D7C81E47BCB0}"/>
</file>

<file path=docProps/app.xml><?xml version="1.0" encoding="utf-8"?>
<Properties xmlns="http://schemas.openxmlformats.org/officeDocument/2006/extended-properties" xmlns:vt="http://schemas.openxmlformats.org/officeDocument/2006/docPropsVTypes">
  <Template>Oi - PPTX - Template geral</Template>
  <TotalTime>26969</TotalTime>
  <Words>4613</Words>
  <Application>Microsoft Office PowerPoint</Application>
  <PresentationFormat>Apresentação na tela (16:9)</PresentationFormat>
  <Paragraphs>619</Paragraphs>
  <Slides>46</Slides>
  <Notes>3</Notes>
  <HiddenSlides>5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46</vt:i4>
      </vt:variant>
    </vt:vector>
  </HeadingPairs>
  <TitlesOfParts>
    <vt:vector size="47" baseType="lpstr">
      <vt:lpstr>Oi - PPTX - Template geral</vt:lpstr>
      <vt:lpstr>Escola SOA Módulo IV Dados para SOA v0.10</vt:lpstr>
      <vt:lpstr>Controlo de Versão</vt:lpstr>
      <vt:lpstr>Apresentação do PowerPoint</vt:lpstr>
      <vt:lpstr>Apresentação do PowerPoint</vt:lpstr>
      <vt:lpstr>Módulo IV – Dados para SOA Apresentações</vt:lpstr>
      <vt:lpstr>Módulo IV – Dados para SOA Tópicos deste Módulo</vt:lpstr>
      <vt:lpstr>Módulo IV – Dados para SOA Agenda deste Módulo</vt:lpstr>
      <vt:lpstr>Apresentação do PowerPoint</vt:lpstr>
      <vt:lpstr>Governança de Dados para Integração Objetiv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Implementando o Modelo Canônico Governança</vt:lpstr>
      <vt:lpstr>Implementando o Modelo Canônico Gerindo a Informação em Integraçã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Felipe Santos</dc:creator>
  <cp:lastModifiedBy>Henrique Morais</cp:lastModifiedBy>
  <cp:revision>714</cp:revision>
  <dcterms:created xsi:type="dcterms:W3CDTF">2014-01-28T19:15:09Z</dcterms:created>
  <dcterms:modified xsi:type="dcterms:W3CDTF">2015-03-11T16:2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3CEB27C93D1A4CA8BB4D99BD509FBF</vt:lpwstr>
  </property>
</Properties>
</file>